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24.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 id="2147483943" r:id="rId24"/>
    <p:sldMasterId id="2147484017" r:id="rId25"/>
  </p:sldMasterIdLst>
  <p:notesMasterIdLst>
    <p:notesMasterId r:id="rId75"/>
  </p:notesMasterIdLst>
  <p:handoutMasterIdLst>
    <p:handoutMasterId r:id="rId76"/>
  </p:handoutMasterIdLst>
  <p:sldIdLst>
    <p:sldId id="840" r:id="rId26"/>
    <p:sldId id="822" r:id="rId27"/>
    <p:sldId id="820" r:id="rId28"/>
    <p:sldId id="848" r:id="rId29"/>
    <p:sldId id="774" r:id="rId30"/>
    <p:sldId id="886" r:id="rId31"/>
    <p:sldId id="846" r:id="rId32"/>
    <p:sldId id="836" r:id="rId33"/>
    <p:sldId id="788" r:id="rId34"/>
    <p:sldId id="787" r:id="rId35"/>
    <p:sldId id="776" r:id="rId36"/>
    <p:sldId id="778" r:id="rId37"/>
    <p:sldId id="785" r:id="rId38"/>
    <p:sldId id="790" r:id="rId39"/>
    <p:sldId id="786" r:id="rId40"/>
    <p:sldId id="791" r:id="rId41"/>
    <p:sldId id="789" r:id="rId42"/>
    <p:sldId id="793" r:id="rId43"/>
    <p:sldId id="884" r:id="rId44"/>
    <p:sldId id="869" r:id="rId45"/>
    <p:sldId id="870" r:id="rId46"/>
    <p:sldId id="871" r:id="rId47"/>
    <p:sldId id="872" r:id="rId48"/>
    <p:sldId id="873" r:id="rId49"/>
    <p:sldId id="874" r:id="rId50"/>
    <p:sldId id="885" r:id="rId51"/>
    <p:sldId id="876" r:id="rId52"/>
    <p:sldId id="877" r:id="rId53"/>
    <p:sldId id="878" r:id="rId54"/>
    <p:sldId id="879" r:id="rId55"/>
    <p:sldId id="880" r:id="rId56"/>
    <p:sldId id="881" r:id="rId57"/>
    <p:sldId id="882" r:id="rId58"/>
    <p:sldId id="883" r:id="rId59"/>
    <p:sldId id="827" r:id="rId60"/>
    <p:sldId id="842" r:id="rId61"/>
    <p:sldId id="843" r:id="rId62"/>
    <p:sldId id="832" r:id="rId63"/>
    <p:sldId id="844" r:id="rId64"/>
    <p:sldId id="845" r:id="rId65"/>
    <p:sldId id="833" r:id="rId66"/>
    <p:sldId id="834" r:id="rId67"/>
    <p:sldId id="838" r:id="rId68"/>
    <p:sldId id="839" r:id="rId69"/>
    <p:sldId id="818" r:id="rId70"/>
    <p:sldId id="823" r:id="rId71"/>
    <p:sldId id="824" r:id="rId72"/>
    <p:sldId id="784" r:id="rId73"/>
    <p:sldId id="829" r:id="rId74"/>
  </p:sldIdLst>
  <p:sldSz cx="12190413" cy="6859588"/>
  <p:notesSz cx="6805613" cy="9944100"/>
  <p:custDataLst>
    <p:tags r:id="rId77"/>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AA"/>
    <a:srgbClr val="1E4148"/>
    <a:srgbClr val="138289"/>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4" autoAdjust="0"/>
    <p:restoredTop sz="77674" autoAdjust="0"/>
  </p:normalViewPr>
  <p:slideViewPr>
    <p:cSldViewPr snapToGrid="0" snapToObjects="1" showGuides="1">
      <p:cViewPr varScale="1">
        <p:scale>
          <a:sx n="66" d="100"/>
          <a:sy n="66" d="100"/>
        </p:scale>
        <p:origin x="1243" y="58"/>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4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6.xml"/><Relationship Id="rId82"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28-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28-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a:t>
            </a:fld>
            <a:endParaRPr lang="en-GB" dirty="0"/>
          </a:p>
        </p:txBody>
      </p:sp>
    </p:spTree>
    <p:extLst>
      <p:ext uri="{BB962C8B-B14F-4D97-AF65-F5344CB8AC3E}">
        <p14:creationId xmlns:p14="http://schemas.microsoft.com/office/powerpoint/2010/main" val="163812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8" name="Shape 708"/>
          <p:cNvSpPr>
            <a:spLocks noGrp="1" noRot="1" noChangeAspect="1"/>
          </p:cNvSpPr>
          <p:nvPr>
            <p:ph type="sldImg"/>
          </p:nvPr>
        </p:nvSpPr>
        <p:spPr>
          <a:prstGeom prst="rect">
            <a:avLst/>
          </a:prstGeom>
        </p:spPr>
        <p:txBody>
          <a:bodyPr/>
          <a:lstStyle/>
          <a:p>
            <a:endParaRPr/>
          </a:p>
        </p:txBody>
      </p:sp>
      <p:sp>
        <p:nvSpPr>
          <p:cNvPr id="709" name="Shape 709"/>
          <p:cNvSpPr>
            <a:spLocks noGrp="1"/>
          </p:cNvSpPr>
          <p:nvPr>
            <p:ph type="body" sz="quarter" idx="1"/>
          </p:nvPr>
        </p:nvSpPr>
        <p:spPr>
          <a:prstGeom prst="rect">
            <a:avLst/>
          </a:prstGeom>
        </p:spPr>
        <p:txBody>
          <a:bodyPr/>
          <a:lstStyle>
            <a:lvl1pPr defTabSz="584200">
              <a:lnSpc>
                <a:spcPct val="100000"/>
              </a:lnSpc>
              <a:defRPr sz="2200">
                <a:latin typeface="Lucida Grande"/>
                <a:ea typeface="Lucida Grande"/>
                <a:cs typeface="Lucida Grande"/>
                <a:sym typeface="Lucida Grande"/>
              </a:defRPr>
            </a:lvl1pPr>
          </a:lstStyle>
          <a:p>
            <a:r>
              <a:t>Impact = number of citations received within five years of publication</a:t>
            </a:r>
          </a:p>
        </p:txBody>
      </p:sp>
    </p:spTree>
    <p:extLst>
      <p:ext uri="{BB962C8B-B14F-4D97-AF65-F5344CB8AC3E}">
        <p14:creationId xmlns:p14="http://schemas.microsoft.com/office/powerpoint/2010/main" val="2700021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 name="Shape 717"/>
          <p:cNvSpPr>
            <a:spLocks noGrp="1" noRot="1" noChangeAspect="1"/>
          </p:cNvSpPr>
          <p:nvPr>
            <p:ph type="sldImg"/>
          </p:nvPr>
        </p:nvSpPr>
        <p:spPr>
          <a:prstGeom prst="rect">
            <a:avLst/>
          </a:prstGeom>
        </p:spPr>
        <p:txBody>
          <a:bodyPr/>
          <a:lstStyle/>
          <a:p>
            <a:endParaRPr/>
          </a:p>
        </p:txBody>
      </p:sp>
      <p:sp>
        <p:nvSpPr>
          <p:cNvPr id="718" name="Shape 718"/>
          <p:cNvSpPr>
            <a:spLocks noGrp="1"/>
          </p:cNvSpPr>
          <p:nvPr>
            <p:ph type="body" sz="quarter" idx="1"/>
          </p:nvPr>
        </p:nvSpPr>
        <p:spPr>
          <a:prstGeom prst="rect">
            <a:avLst/>
          </a:prstGeom>
        </p:spPr>
        <p:txBody>
          <a:bodyPr/>
          <a:lstStyle/>
          <a:p>
            <a:r>
              <a:t>McKinsey measured profitability by average EBIT margin and value creation by economic profit (EP) margin</a:t>
            </a:r>
          </a:p>
          <a:p>
            <a:endParaRPr/>
          </a:p>
          <a:p>
            <a:r>
              <a:t>EBIT: Earnings before interests and taxes</a:t>
            </a:r>
          </a:p>
        </p:txBody>
      </p:sp>
    </p:spTree>
    <p:extLst>
      <p:ext uri="{BB962C8B-B14F-4D97-AF65-F5344CB8AC3E}">
        <p14:creationId xmlns:p14="http://schemas.microsoft.com/office/powerpoint/2010/main" val="385676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 name="Shape 811"/>
          <p:cNvSpPr>
            <a:spLocks noGrp="1" noRot="1" noChangeAspect="1"/>
          </p:cNvSpPr>
          <p:nvPr>
            <p:ph type="sldImg"/>
          </p:nvPr>
        </p:nvSpPr>
        <p:spPr>
          <a:prstGeom prst="rect">
            <a:avLst/>
          </a:prstGeom>
        </p:spPr>
        <p:txBody>
          <a:bodyPr/>
          <a:lstStyle/>
          <a:p>
            <a:endParaRPr/>
          </a:p>
        </p:txBody>
      </p:sp>
      <p:sp>
        <p:nvSpPr>
          <p:cNvPr id="812" name="Shape 812"/>
          <p:cNvSpPr>
            <a:spLocks noGrp="1"/>
          </p:cNvSpPr>
          <p:nvPr>
            <p:ph type="body" sz="quarter" idx="1"/>
          </p:nvPr>
        </p:nvSpPr>
        <p:spPr>
          <a:prstGeom prst="rect">
            <a:avLst/>
          </a:prstGeom>
        </p:spPr>
        <p:txBody>
          <a:bodyPr/>
          <a:lstStyle/>
          <a:p>
            <a:r>
              <a:t>“Hidden knowledge” (lowest common denominator)</a:t>
            </a:r>
          </a:p>
        </p:txBody>
      </p:sp>
    </p:spTree>
    <p:extLst>
      <p:ext uri="{BB962C8B-B14F-4D97-AF65-F5344CB8AC3E}">
        <p14:creationId xmlns:p14="http://schemas.microsoft.com/office/powerpoint/2010/main" val="1664421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5" name="Shape 825"/>
          <p:cNvSpPr>
            <a:spLocks noGrp="1" noRot="1" noChangeAspect="1"/>
          </p:cNvSpPr>
          <p:nvPr>
            <p:ph type="sldImg"/>
          </p:nvPr>
        </p:nvSpPr>
        <p:spPr>
          <a:prstGeom prst="rect">
            <a:avLst/>
          </a:prstGeom>
        </p:spPr>
        <p:txBody>
          <a:bodyPr/>
          <a:lstStyle/>
          <a:p>
            <a:endParaRPr/>
          </a:p>
        </p:txBody>
      </p:sp>
      <p:sp>
        <p:nvSpPr>
          <p:cNvPr id="826" name="Shape 826"/>
          <p:cNvSpPr>
            <a:spLocks noGrp="1"/>
          </p:cNvSpPr>
          <p:nvPr>
            <p:ph type="body" sz="quarter" idx="1"/>
          </p:nvPr>
        </p:nvSpPr>
        <p:spPr>
          <a:prstGeom prst="rect">
            <a:avLst/>
          </a:prstGeom>
        </p:spPr>
        <p:txBody>
          <a:bodyPr/>
          <a:lstStyle/>
          <a:p>
            <a:r>
              <a:t>This is why most of the larger EU research programs will REQUIRE you to have not only cultural diversity (for instance five different EU countries), but also gender diversity in your research project…. </a:t>
            </a:r>
          </a:p>
        </p:txBody>
      </p:sp>
    </p:spTree>
    <p:extLst>
      <p:ext uri="{BB962C8B-B14F-4D97-AF65-F5344CB8AC3E}">
        <p14:creationId xmlns:p14="http://schemas.microsoft.com/office/powerpoint/2010/main" val="1128725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 name="Shape 842"/>
          <p:cNvSpPr>
            <a:spLocks noGrp="1" noRot="1" noChangeAspect="1"/>
          </p:cNvSpPr>
          <p:nvPr>
            <p:ph type="sldImg"/>
          </p:nvPr>
        </p:nvSpPr>
        <p:spPr>
          <a:prstGeom prst="rect">
            <a:avLst/>
          </a:prstGeom>
        </p:spPr>
        <p:txBody>
          <a:bodyPr/>
          <a:lstStyle/>
          <a:p>
            <a:endParaRPr/>
          </a:p>
        </p:txBody>
      </p:sp>
      <p:sp>
        <p:nvSpPr>
          <p:cNvPr id="843" name="Shape 843"/>
          <p:cNvSpPr>
            <a:spLocks noGrp="1"/>
          </p:cNvSpPr>
          <p:nvPr>
            <p:ph type="body" sz="quarter" idx="1"/>
          </p:nvPr>
        </p:nvSpPr>
        <p:spPr>
          <a:prstGeom prst="rect">
            <a:avLst/>
          </a:prstGeom>
        </p:spPr>
        <p:txBody>
          <a:bodyPr/>
          <a:lstStyle>
            <a:lvl1pPr marL="57799" marR="57799" defTabSz="1295400">
              <a:lnSpc>
                <a:spcPct val="100000"/>
              </a:lnSpc>
              <a:spcBef>
                <a:spcPts val="500"/>
              </a:spcBef>
              <a:buClr>
                <a:srgbClr val="000000"/>
              </a:buClr>
              <a:buFont typeface="Arial"/>
              <a:defRPr sz="1600">
                <a:uFill>
                  <a:solidFill>
                    <a:srgbClr val="000000"/>
                  </a:solidFill>
                </a:uFill>
                <a:latin typeface="Arial"/>
                <a:ea typeface="Arial"/>
                <a:cs typeface="Arial"/>
                <a:sym typeface="Arial"/>
              </a:defRPr>
            </a:lvl1pPr>
          </a:lstStyle>
          <a:p>
            <a:r>
              <a:t>According to Page (2008) the explanation is that when one agent gets stuck, there is always someone else able to come up with a different / better method. Top performers tend to have only ONE solution</a:t>
            </a:r>
          </a:p>
        </p:txBody>
      </p:sp>
    </p:spTree>
    <p:extLst>
      <p:ext uri="{BB962C8B-B14F-4D97-AF65-F5344CB8AC3E}">
        <p14:creationId xmlns:p14="http://schemas.microsoft.com/office/powerpoint/2010/main" val="2961503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35</a:t>
            </a:fld>
            <a:endParaRPr lang="en-GB" dirty="0"/>
          </a:p>
        </p:txBody>
      </p:sp>
    </p:spTree>
    <p:extLst>
      <p:ext uri="{BB962C8B-B14F-4D97-AF65-F5344CB8AC3E}">
        <p14:creationId xmlns:p14="http://schemas.microsoft.com/office/powerpoint/2010/main" val="4079134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0</a:t>
            </a:fld>
            <a:endParaRPr lang="en-GB" dirty="0"/>
          </a:p>
        </p:txBody>
      </p:sp>
    </p:spTree>
    <p:extLst>
      <p:ext uri="{BB962C8B-B14F-4D97-AF65-F5344CB8AC3E}">
        <p14:creationId xmlns:p14="http://schemas.microsoft.com/office/powerpoint/2010/main" val="4233143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42</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44</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5</a:t>
            </a:fld>
            <a:endParaRPr lang="en-GB" dirty="0"/>
          </a:p>
        </p:txBody>
      </p:sp>
    </p:spTree>
    <p:extLst>
      <p:ext uri="{BB962C8B-B14F-4D97-AF65-F5344CB8AC3E}">
        <p14:creationId xmlns:p14="http://schemas.microsoft.com/office/powerpoint/2010/main" val="1176761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48</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a:t>
            </a:r>
          </a:p>
          <a:p>
            <a:endParaRPr lang="da-DK" sz="1200" b="1" i="0" kern="1200" cap="all" baseline="0"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FORSKNINGSPROJEKT SKAL SIKRE DANSKERNES PENSIONSOPSPARINGER</a:t>
            </a:r>
          </a:p>
          <a:p>
            <a:r>
              <a:rPr lang="da-DK" sz="1200" b="1" i="0" kern="1200" cap="all" dirty="0" smtClean="0">
                <a:solidFill>
                  <a:schemeClr val="tx1"/>
                </a:solidFill>
                <a:effectLst/>
                <a:latin typeface="+mn-lt"/>
                <a:ea typeface="+mn-ea"/>
                <a:cs typeface="+mn-cs"/>
              </a:rPr>
              <a:t>NYT IT-FORSKNINGSPROJEKT SKAL GIVE PENSIONSSELSKABERNE VÆRKTØJER TIL BEDRE SOLVENS- OG RISIKOSTYRING OG SKAL DERMED SIKRE DE DANSKE PENSIONER OGSÅ OM 30 ÅR.</a:t>
            </a:r>
          </a:p>
          <a:p>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PRESSEMEDDELELSE DEN 20. DECEMBER 2017 KL. 09:00</a:t>
            </a:r>
          </a:p>
          <a:p>
            <a:r>
              <a:rPr lang="da-DK" sz="1200" b="0" i="0" kern="1200" dirty="0" smtClean="0">
                <a:solidFill>
                  <a:schemeClr val="tx1"/>
                </a:solidFill>
                <a:effectLst/>
                <a:latin typeface="+mn-lt"/>
                <a:ea typeface="+mn-ea"/>
                <a:cs typeface="+mn-cs"/>
              </a:rPr>
              <a:t>Det danske pensionssystem er i disse år presset på flere fronter: Længere levetider, nye og mere risikofyldte produkter, strammere krav fra EU og øget konkurrence. For at pensionsselskaberne også i fremtiden kan sikre afkast af danskernes pensionsopsparinger, skal de i endnu højere grad have styr på deres risiko og forretning. Det vil projektet udvikle værktøjerne til. Mere konkret er projektets mål at udvikle en beregningsplatform, der kan modellere selskabernes forretning i en række forskellige fremtidige scenarier.</a:t>
            </a:r>
          </a:p>
          <a:p>
            <a:r>
              <a:rPr lang="da-DK" sz="1200" b="1" i="0" kern="1200" dirty="0" smtClean="0">
                <a:solidFill>
                  <a:schemeClr val="tx1"/>
                </a:solidFill>
                <a:effectLst/>
                <a:latin typeface="+mn-lt"/>
                <a:ea typeface="+mn-ea"/>
                <a:cs typeface="+mn-cs"/>
              </a:rPr>
              <a:t>Projektet skaber eksportmuligheder for dansk </a:t>
            </a:r>
            <a:r>
              <a:rPr lang="da-DK" sz="1200" b="1" i="0" kern="1200" dirty="0" err="1" smtClean="0">
                <a:solidFill>
                  <a:schemeClr val="tx1"/>
                </a:solidFill>
                <a:effectLst/>
                <a:latin typeface="+mn-lt"/>
                <a:ea typeface="+mn-ea"/>
                <a:cs typeface="+mn-cs"/>
              </a:rPr>
              <a:t>FinTech</a:t>
            </a:r>
            <a:r>
              <a:rPr lang="da-DK" sz="1200" b="0" i="0" kern="1200" dirty="0" smtClean="0">
                <a:solidFill>
                  <a:schemeClr val="tx1"/>
                </a:solidFill>
                <a:effectLst/>
                <a:latin typeface="+mn-lt"/>
                <a:ea typeface="+mn-ea"/>
                <a:cs typeface="+mn-cs"/>
              </a:rPr>
              <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Potentialet for projektet er stort, da målet med platformen er at lave en løsning, der kan bruges af hele branchen, og efterfølgende vil kunne eksporteres til andre lande med pensionssystemer, som minder om det danske, eksempelvis Sverige og Norge.</a:t>
            </a:r>
          </a:p>
          <a:p>
            <a:r>
              <a:rPr lang="da-DK" sz="1200" b="0" i="0" kern="1200" dirty="0" smtClean="0">
                <a:solidFill>
                  <a:schemeClr val="tx1"/>
                </a:solidFill>
                <a:effectLst/>
                <a:latin typeface="+mn-lt"/>
                <a:ea typeface="+mn-ea"/>
                <a:cs typeface="+mn-cs"/>
              </a:rPr>
              <a:t>-Det, at vi med projektet adresserer nogle internationale lovgivningstendenser, betyder jo, at hvis det lykkedes os, vil vi i fremtiden også kunne løse opgaver i andre lande, udtaler projektdeltager og professor på Københavns Universitetet, Mogens Steffensen.</a:t>
            </a:r>
          </a:p>
          <a:p>
            <a:r>
              <a:rPr lang="da-DK" sz="1200" b="1" i="0" kern="1200" dirty="0" smtClean="0">
                <a:solidFill>
                  <a:schemeClr val="tx1"/>
                </a:solidFill>
                <a:effectLst/>
                <a:latin typeface="+mn-lt"/>
                <a:ea typeface="+mn-ea"/>
                <a:cs typeface="+mn-cs"/>
              </a:rPr>
              <a:t>Vil løfte niveauet i branchen</a:t>
            </a:r>
            <a:r>
              <a:rPr lang="da-DK" sz="1200" b="0" i="0" kern="1200" dirty="0" smtClean="0">
                <a:solidFill>
                  <a:schemeClr val="tx1"/>
                </a:solidFill>
                <a:effectLst/>
                <a:latin typeface="+mn-lt"/>
                <a:ea typeface="+mn-ea"/>
                <a:cs typeface="+mn-cs"/>
              </a:rPr>
              <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Projektgruppen vil løbende publicere deres resultater, der dermed kommer hele branchen til gode.</a:t>
            </a:r>
          </a:p>
          <a:p>
            <a:r>
              <a:rPr lang="da-DK" sz="1200" b="0" i="0" kern="1200" dirty="0" smtClean="0">
                <a:solidFill>
                  <a:schemeClr val="tx1"/>
                </a:solidFill>
                <a:effectLst/>
                <a:latin typeface="+mn-lt"/>
                <a:ea typeface="+mn-ea"/>
                <a:cs typeface="+mn-cs"/>
              </a:rPr>
              <a:t>- Udover at fortælle omverdenen, hvilket avanceret niveau vi arbejder på, er det jo universiteternes samfundsmæssige opgave at udvikle nye ting og oplyse offentligheden om vores forskning. På den måde kan man sige, at vi løfter niveauet i hele branchen, udtaler Peter </a:t>
            </a:r>
            <a:r>
              <a:rPr lang="da-DK" sz="1200" b="0" i="0" kern="1200" dirty="0" err="1" smtClean="0">
                <a:solidFill>
                  <a:schemeClr val="tx1"/>
                </a:solidFill>
                <a:effectLst/>
                <a:latin typeface="+mn-lt"/>
                <a:ea typeface="+mn-ea"/>
                <a:cs typeface="+mn-cs"/>
              </a:rPr>
              <a:t>Sestoft</a:t>
            </a:r>
            <a:r>
              <a:rPr lang="da-DK" sz="1200" b="0" i="0" kern="1200" dirty="0" smtClean="0">
                <a:solidFill>
                  <a:schemeClr val="tx1"/>
                </a:solidFill>
                <a:effectLst/>
                <a:latin typeface="+mn-lt"/>
                <a:ea typeface="+mn-ea"/>
                <a:cs typeface="+mn-cs"/>
              </a:rPr>
              <a:t>, professor ved IT-Universitet I København.</a:t>
            </a: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0" i="0" kern="1200" dirty="0" smtClean="0">
                <a:solidFill>
                  <a:schemeClr val="tx1"/>
                </a:solidFill>
                <a:effectLst/>
                <a:latin typeface="+mn-lt"/>
                <a:ea typeface="+mn-ea"/>
                <a:cs typeface="+mn-cs"/>
              </a:rPr>
              <a:t>Innovationsfonden skyder 9 mio. kroner i projektet, som er et samarbejde mellem IT-Universitetet, Københavns Universitet og softwarevirksomheden </a:t>
            </a:r>
            <a:r>
              <a:rPr lang="da-DK" sz="1200" b="0" i="0" kern="1200" dirty="0" err="1" smtClean="0">
                <a:solidFill>
                  <a:schemeClr val="tx1"/>
                </a:solidFill>
                <a:effectLst/>
                <a:latin typeface="+mn-lt"/>
                <a:ea typeface="+mn-ea"/>
                <a:cs typeface="+mn-cs"/>
              </a:rPr>
              <a:t>Edlund</a:t>
            </a:r>
            <a:r>
              <a:rPr lang="da-DK" sz="1200" b="0" i="0" kern="1200" dirty="0" smtClean="0">
                <a:solidFill>
                  <a:schemeClr val="tx1"/>
                </a:solidFill>
                <a:effectLst/>
                <a:latin typeface="+mn-lt"/>
                <a:ea typeface="+mn-ea"/>
                <a:cs typeface="+mn-cs"/>
              </a:rPr>
              <a:t> A/S.</a:t>
            </a: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øverst til højre</a:t>
            </a:r>
          </a:p>
          <a:p>
            <a:endParaRPr lang="da-DK" sz="1200" b="1" i="0" kern="1200" cap="all" baseline="0"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BIG DATA SKAL FÅ ARBEJDSLØSE HURTIGERE I JOB</a:t>
            </a:r>
          </a:p>
          <a:p>
            <a:r>
              <a:rPr lang="da-DK" sz="1200" b="1" i="0" kern="1200" cap="all" dirty="0" smtClean="0">
                <a:solidFill>
                  <a:schemeClr val="tx1"/>
                </a:solidFill>
                <a:effectLst/>
                <a:latin typeface="+mn-lt"/>
                <a:ea typeface="+mn-ea"/>
                <a:cs typeface="+mn-cs"/>
              </a:rPr>
              <a:t>DIGITALE SAGSBEHANDLINGSSYSTEMER SKAL BÅDE VÆRE MERE INTELLIGENTE OG FLEKSIBLE. DET VIL GIVE SAGSBEHANDLERE OG BORGERE EN BEDRE OG MERE TRANSPARENT SAGSBEHANDLING PÅ TRODS AF EN STADIG MERE KOMPLEKS LOVGIVNING. </a:t>
            </a:r>
          </a:p>
          <a:p>
            <a:r>
              <a:rPr lang="da-DK" sz="1200" b="1" i="0" kern="1200" cap="all" dirty="0" smtClean="0">
                <a:solidFill>
                  <a:schemeClr val="tx1"/>
                </a:solidFill>
                <a:effectLst/>
                <a:latin typeface="+mn-lt"/>
                <a:ea typeface="+mn-ea"/>
                <a:cs typeface="+mn-cs"/>
              </a:rPr>
              <a:t>PRESSEMEDDELELSE DEN 5. OKTOBER 2017 KL. 11:00</a:t>
            </a:r>
          </a:p>
          <a:p>
            <a:r>
              <a:rPr lang="da-DK" sz="1200" b="0" i="0" kern="1200" dirty="0" smtClean="0">
                <a:solidFill>
                  <a:schemeClr val="tx1"/>
                </a:solidFill>
                <a:effectLst/>
                <a:latin typeface="+mn-lt"/>
                <a:ea typeface="+mn-ea"/>
                <a:cs typeface="+mn-cs"/>
              </a:rPr>
              <a:t>Sagsbehandlere og borgere i danske kommuner slås med digitale systemer som ikke kan tage højde for individuelle hensyn, og som er svære at tilpasse de omskiftelige regler i lovgivningen. Det gør systemerne både ufleksible, dyre i drift, og gør det svært at skabe den optimale handlingsplan for den enkelte borger.</a:t>
            </a:r>
          </a:p>
          <a:p>
            <a:r>
              <a:rPr lang="da-DK" sz="1200" b="0" i="0" kern="1200" dirty="0" smtClean="0">
                <a:solidFill>
                  <a:schemeClr val="tx1"/>
                </a:solidFill>
                <a:effectLst/>
                <a:latin typeface="+mn-lt"/>
                <a:ea typeface="+mn-ea"/>
                <a:cs typeface="+mn-cs"/>
              </a:rPr>
              <a:t>Det vil nyt et forskningsprojekt nu lave om på. Projektet </a:t>
            </a:r>
            <a:r>
              <a:rPr lang="da-DK" sz="1200" b="0" i="0" kern="1200" dirty="0" err="1" smtClean="0">
                <a:solidFill>
                  <a:schemeClr val="tx1"/>
                </a:solidFill>
                <a:effectLst/>
                <a:latin typeface="+mn-lt"/>
                <a:ea typeface="+mn-ea"/>
                <a:cs typeface="+mn-cs"/>
              </a:rPr>
              <a:t>EcoKnow</a:t>
            </a:r>
            <a:r>
              <a:rPr lang="da-DK" sz="1200" b="0" i="0" kern="1200" dirty="0" smtClean="0">
                <a:solidFill>
                  <a:schemeClr val="tx1"/>
                </a:solidFill>
                <a:effectLst/>
                <a:latin typeface="+mn-lt"/>
                <a:ea typeface="+mn-ea"/>
                <a:cs typeface="+mn-cs"/>
              </a:rPr>
              <a:t> skal udvikle digitale løsninger, hvor ændringer i loven kan integreres løbende i systemet, og som gør det muligt for sagsbehandlere at udnytte de store mængder data (</a:t>
            </a:r>
            <a:r>
              <a:rPr lang="da-DK" sz="1200" b="0" i="0" kern="1200" dirty="0" err="1" smtClean="0">
                <a:solidFill>
                  <a:schemeClr val="tx1"/>
                </a:solidFill>
                <a:effectLst/>
                <a:latin typeface="+mn-lt"/>
                <a:ea typeface="+mn-ea"/>
                <a:cs typeface="+mn-cs"/>
              </a:rPr>
              <a:t>big</a:t>
            </a:r>
            <a:r>
              <a:rPr lang="da-DK" sz="1200" b="0" i="0" kern="1200" dirty="0" smtClean="0">
                <a:solidFill>
                  <a:schemeClr val="tx1"/>
                </a:solidFill>
                <a:effectLst/>
                <a:latin typeface="+mn-lt"/>
                <a:ea typeface="+mn-ea"/>
                <a:cs typeface="+mn-cs"/>
              </a:rPr>
              <a:t> data), der findes fra tidligere sagsforløb.</a:t>
            </a:r>
          </a:p>
          <a:p>
            <a:r>
              <a:rPr lang="da-DK" sz="1200" b="0" i="0" kern="1200" dirty="0" smtClean="0">
                <a:solidFill>
                  <a:schemeClr val="tx1"/>
                </a:solidFill>
                <a:effectLst/>
                <a:latin typeface="+mn-lt"/>
                <a:ea typeface="+mn-ea"/>
                <a:cs typeface="+mn-cs"/>
              </a:rPr>
              <a:t>Ligesom en GPS kan udregne en ny rute, hvis den oprindeligt foreslåede rute ikke overholdes, skal sagsbehandlersystemerne kunne foreslå nye planer, når der sker en lovændring, eller der opstår en ny situation f.eks. på grund af sygdom.</a:t>
            </a:r>
          </a:p>
          <a:p>
            <a:r>
              <a:rPr lang="da-DK" sz="1200" b="0" i="0" kern="1200" dirty="0" smtClean="0">
                <a:solidFill>
                  <a:schemeClr val="tx1"/>
                </a:solidFill>
                <a:effectLst/>
                <a:latin typeface="+mn-lt"/>
                <a:ea typeface="+mn-ea"/>
                <a:cs typeface="+mn-cs"/>
              </a:rPr>
              <a:t>- Det er vigtigt, at sagsbehandlerne får støtte af it-systemerne i stedet for det modsatte. Vi ved f.eks., at sagsbehandlere har meget begrænset tid til at forberede sig, når de skal have arbejdsløse i arbejde. Det er udfordrende at lægge den optimale handlingsplan, når de både skal tage hensyn til borgernes meget forskellige kompetencer og begrænsninger samtidig med, at handleplanen skal ligge inden for lovens rammer, som har det med at blive ændret fra tid til anden, siger projektleder for </a:t>
            </a:r>
            <a:r>
              <a:rPr lang="da-DK" sz="1200" b="0" i="0" kern="1200" dirty="0" err="1" smtClean="0">
                <a:solidFill>
                  <a:schemeClr val="tx1"/>
                </a:solidFill>
                <a:effectLst/>
                <a:latin typeface="+mn-lt"/>
                <a:ea typeface="+mn-ea"/>
                <a:cs typeface="+mn-cs"/>
              </a:rPr>
              <a:t>Ecoknow</a:t>
            </a:r>
            <a:r>
              <a:rPr lang="da-DK" sz="1200" b="0" i="0" kern="1200" dirty="0" smtClean="0">
                <a:solidFill>
                  <a:schemeClr val="tx1"/>
                </a:solidFill>
                <a:effectLst/>
                <a:latin typeface="+mn-lt"/>
                <a:ea typeface="+mn-ea"/>
                <a:cs typeface="+mn-cs"/>
              </a:rPr>
              <a:t>, lektor på IT-Universitetet Thomas Hildebrandt.</a:t>
            </a:r>
          </a:p>
          <a:p>
            <a:r>
              <a:rPr lang="da-DK" sz="1200" b="0" i="0" kern="1200" dirty="0" smtClean="0">
                <a:solidFill>
                  <a:schemeClr val="tx1"/>
                </a:solidFill>
                <a:effectLst/>
                <a:latin typeface="+mn-lt"/>
                <a:ea typeface="+mn-ea"/>
                <a:cs typeface="+mn-cs"/>
              </a:rPr>
              <a:t>I praksis går projektet ud på at udvikle et system, som aflæser mønstre i data fra tusindvis af borgere og sagsbehandlere. På baggrund af gode og dårlige erfaringer fra disse, kan systemet komme med anbefalinger til den enkelte sagsbehandler og borger.</a:t>
            </a:r>
          </a:p>
          <a:p>
            <a:r>
              <a:rPr lang="da-DK" sz="1200" b="0" i="0" kern="1200" dirty="0" smtClean="0">
                <a:solidFill>
                  <a:schemeClr val="tx1"/>
                </a:solidFill>
                <a:effectLst/>
                <a:latin typeface="+mn-lt"/>
                <a:ea typeface="+mn-ea"/>
                <a:cs typeface="+mn-cs"/>
              </a:rPr>
              <a:t>Det giver gevinst for sagsbehandlingen, som bliver både bedre og billigere, fordi de omstillingsparate systemer gør processen hurtigere og mere smidig. Thomas Hildebrandt vurderer, at kommunerne kan halvere deres budgetter til udvikling og vedligeholdelse af sagsbehandlingssystemer.</a:t>
            </a:r>
          </a:p>
          <a:p>
            <a:r>
              <a:rPr lang="da-DK" sz="1200" b="0" i="0" kern="1200" dirty="0" smtClean="0">
                <a:solidFill>
                  <a:schemeClr val="tx1"/>
                </a:solidFill>
                <a:effectLst/>
                <a:latin typeface="+mn-lt"/>
                <a:ea typeface="+mn-ea"/>
                <a:cs typeface="+mn-cs"/>
              </a:rPr>
              <a:t>- Det er samtidig en gevinst for borgerne i form af større medindflydelse og gennemsigtighed, fordi det både for borger og sagsbehandler bliver nemmere at få overblik over den enkeltes sag. Det kan især have betydning, når en sag skifter sagsbehandler, siger Thomas Hildebrandt, og henviser til Beskæftigelses Indikator Projektet fra Væksthusets Forskningscenter, som viser, at arbejdsløses chance for at få et arbejde falder med 22 procent, når de skifter sagsbehandler. </a:t>
            </a:r>
          </a:p>
          <a:p>
            <a:r>
              <a:rPr lang="da-DK" sz="1200" b="0" i="0" kern="1200" dirty="0" smtClean="0">
                <a:solidFill>
                  <a:schemeClr val="tx1"/>
                </a:solidFill>
                <a:effectLst/>
                <a:latin typeface="+mn-lt"/>
                <a:ea typeface="+mn-ea"/>
                <a:cs typeface="+mn-cs"/>
              </a:rPr>
              <a:t>En central udfordring, som </a:t>
            </a:r>
            <a:r>
              <a:rPr lang="da-DK" sz="1200" b="0" i="0" kern="1200" dirty="0" err="1" smtClean="0">
                <a:solidFill>
                  <a:schemeClr val="tx1"/>
                </a:solidFill>
                <a:effectLst/>
                <a:latin typeface="+mn-lt"/>
                <a:ea typeface="+mn-ea"/>
                <a:cs typeface="+mn-cs"/>
              </a:rPr>
              <a:t>EcoKnow</a:t>
            </a:r>
            <a:r>
              <a:rPr lang="da-DK" sz="1200" b="0" i="0" kern="1200" dirty="0" smtClean="0">
                <a:solidFill>
                  <a:schemeClr val="tx1"/>
                </a:solidFill>
                <a:effectLst/>
                <a:latin typeface="+mn-lt"/>
                <a:ea typeface="+mn-ea"/>
                <a:cs typeface="+mn-cs"/>
              </a:rPr>
              <a:t> skal løse, er, at gøre teknologien så forståelig, at den kan bruges og vedligeholdes af jurister og sagsbehandlere i kommunerne. Der vil derfor løbende blive evalueret på arbejdsgangene og forståeligheden af værktøjerne, som både kommuner, konsulenter, jurister, borgere og socialrådgivere vil blive inddraget i.</a:t>
            </a:r>
          </a:p>
          <a:p>
            <a:r>
              <a:rPr lang="da-DK" sz="1200" b="0" i="0" kern="1200" dirty="0" smtClean="0">
                <a:solidFill>
                  <a:schemeClr val="tx1"/>
                </a:solidFill>
                <a:effectLst/>
                <a:latin typeface="+mn-lt"/>
                <a:ea typeface="+mn-ea"/>
                <a:cs typeface="+mn-cs"/>
              </a:rPr>
              <a:t>I projektets sidste fase vil partnerne undersøge, hvordan teknologien kan udbredes uden for Danmark og i andre sektorer, som f.eks. til sagsbehandlingssystemer i finans- og sundhedssektoren.</a:t>
            </a: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venstre</a:t>
            </a: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0" i="0" kern="1200" dirty="0" err="1" smtClean="0">
                <a:solidFill>
                  <a:schemeClr val="tx1"/>
                </a:solidFill>
                <a:effectLst/>
                <a:latin typeface="+mn-lt"/>
                <a:ea typeface="+mn-ea"/>
                <a:cs typeface="+mn-cs"/>
              </a:rPr>
              <a:t>WakieWakie</a:t>
            </a:r>
            <a:r>
              <a:rPr lang="da-DK" sz="1200" b="0" i="0" kern="1200" dirty="0" smtClean="0">
                <a:solidFill>
                  <a:schemeClr val="tx1"/>
                </a:solidFill>
                <a:effectLst/>
                <a:latin typeface="+mn-lt"/>
                <a:ea typeface="+mn-ea"/>
                <a:cs typeface="+mn-cs"/>
              </a:rPr>
              <a:t> vækker dig med rare indtalte beskeder i stedet for irriterende alarmlyde. Fire nuværende og tidligere ITU-studerende står bag </a:t>
            </a:r>
            <a:r>
              <a:rPr lang="da-DK" sz="1200" b="0" i="0" kern="1200" dirty="0" err="1" smtClean="0">
                <a:solidFill>
                  <a:schemeClr val="tx1"/>
                </a:solidFill>
                <a:effectLst/>
                <a:latin typeface="+mn-lt"/>
                <a:ea typeface="+mn-ea"/>
                <a:cs typeface="+mn-cs"/>
              </a:rPr>
              <a:t>appen</a:t>
            </a:r>
            <a:r>
              <a:rPr lang="da-DK" sz="1200" b="0" i="0" kern="1200" dirty="0" smtClean="0">
                <a:solidFill>
                  <a:schemeClr val="tx1"/>
                </a:solidFill>
                <a:effectLst/>
                <a:latin typeface="+mn-lt"/>
                <a:ea typeface="+mn-ea"/>
                <a:cs typeface="+mn-cs"/>
              </a:rPr>
              <a:t>, der er blevet brugt som alternativt indsamlingsredskab i forbindelse med Danmarks Indsamling 2017 – ligesom de har vækket</a:t>
            </a:r>
            <a:r>
              <a:rPr lang="da-DK" sz="1200" b="0" i="0" kern="1200" baseline="0" dirty="0" smtClean="0">
                <a:solidFill>
                  <a:schemeClr val="tx1"/>
                </a:solidFill>
                <a:effectLst/>
                <a:latin typeface="+mn-lt"/>
                <a:ea typeface="+mn-ea"/>
                <a:cs typeface="+mn-cs"/>
              </a:rPr>
              <a:t> både frivillige og gæster på Roskilde Festival de sidste to år</a:t>
            </a:r>
            <a:r>
              <a:rPr lang="da-DK" sz="1200" b="0" i="0" kern="1200" dirty="0" smtClean="0">
                <a:solidFill>
                  <a:schemeClr val="tx1"/>
                </a:solidFill>
                <a:effectLst/>
                <a:latin typeface="+mn-lt"/>
                <a:ea typeface="+mn-ea"/>
                <a:cs typeface="+mn-cs"/>
              </a:rPr>
              <a:t>.</a:t>
            </a: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højre</a:t>
            </a:r>
          </a:p>
          <a:p>
            <a:pPr marL="0" marR="0" indent="0" algn="l" defTabSz="912195" rtl="0" eaLnBrk="1" fontAlgn="auto" latinLnBrk="0" hangingPunct="1">
              <a:lnSpc>
                <a:spcPct val="100000"/>
              </a:lnSpc>
              <a:spcBef>
                <a:spcPts val="0"/>
              </a:spcBef>
              <a:spcAft>
                <a:spcPts val="0"/>
              </a:spcAft>
              <a:buClrTx/>
              <a:buSzTx/>
              <a:buFontTx/>
              <a:buNone/>
              <a:tabLst/>
              <a:defRPr/>
            </a:pPr>
            <a:r>
              <a:rPr lang="da-DK" dirty="0" smtClean="0"/>
              <a:t>1,3</a:t>
            </a:r>
            <a:r>
              <a:rPr lang="da-DK" baseline="0" dirty="0" smtClean="0"/>
              <a:t> mio. kr. fra </a:t>
            </a:r>
            <a:r>
              <a:rPr lang="da-DK" baseline="0" dirty="0" err="1" smtClean="0"/>
              <a:t>InnoBooster</a:t>
            </a:r>
            <a:r>
              <a:rPr lang="da-DK" baseline="0" dirty="0" smtClean="0"/>
              <a:t> i år. Stephen Alstrup er CEO i </a:t>
            </a:r>
            <a:r>
              <a:rPr lang="da-DK" baseline="0" dirty="0" err="1" smtClean="0"/>
              <a:t>Supwiz</a:t>
            </a:r>
            <a:r>
              <a:rPr lang="da-DK" baseline="0" dirty="0" smtClean="0"/>
              <a:t> og har en fortid, hvor han var med til at starte ITU.</a:t>
            </a:r>
          </a:p>
          <a:p>
            <a:r>
              <a:rPr lang="en-US" dirty="0" smtClean="0">
                <a:effectLst/>
              </a:rPr>
              <a:t>Answer customer queries automatically. Identify customers' problems before themselves. Ensure your customers don’t have to repeat themselves. Increase conversion rates using AI adaptive models</a:t>
            </a:r>
          </a:p>
          <a:p>
            <a:r>
              <a:rPr lang="en-US" dirty="0" smtClean="0">
                <a:effectLst/>
              </a:rPr>
              <a:t>Understand which customers are unsatisfied and why. Match the right support agent to each case. Adaptively update your media presence. Make on-line shopping a personal experience</a:t>
            </a:r>
          </a:p>
          <a:p>
            <a:r>
              <a:rPr lang="en-US" dirty="0" smtClean="0">
                <a:effectLst/>
              </a:rPr>
              <a:t>... and much more!</a:t>
            </a:r>
          </a:p>
          <a:p>
            <a:pPr marL="0" marR="0" indent="0" algn="l" defTabSz="912195" rtl="0" eaLnBrk="1" fontAlgn="auto" latinLnBrk="0" hangingPunct="1">
              <a:lnSpc>
                <a:spcPct val="100000"/>
              </a:lnSpc>
              <a:spcBef>
                <a:spcPts val="0"/>
              </a:spcBef>
              <a:spcAft>
                <a:spcPts val="0"/>
              </a:spcAft>
              <a:buClrTx/>
              <a:buSzTx/>
              <a:buFontTx/>
              <a:buNone/>
              <a:tabLst/>
              <a:defRPr/>
            </a:pPr>
            <a:endParaRPr lang="da-DK" dirty="0" smtClean="0"/>
          </a:p>
          <a:p>
            <a:endParaRPr lang="da-DK" sz="1200" b="0" i="0" kern="1200" cap="all" baseline="0" dirty="0" smtClean="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8C225011-974D-4E94-B454-6C2E1F12F228}" type="slidenum">
              <a:rPr lang="da-DK" smtClean="0"/>
              <a:pPr/>
              <a:t>6</a:t>
            </a:fld>
            <a:endParaRPr lang="en-GB" dirty="0"/>
          </a:p>
        </p:txBody>
      </p:sp>
    </p:spTree>
    <p:extLst>
      <p:ext uri="{BB962C8B-B14F-4D97-AF65-F5344CB8AC3E}">
        <p14:creationId xmlns:p14="http://schemas.microsoft.com/office/powerpoint/2010/main" val="1042912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err="1" smtClean="0">
                <a:solidFill>
                  <a:schemeClr val="tx1"/>
                </a:solidFill>
                <a:effectLst/>
                <a:latin typeface="+mn-lt"/>
                <a:ea typeface="+mn-ea"/>
                <a:cs typeface="+mn-cs"/>
              </a:rPr>
              <a:t>Total</a:t>
            </a:r>
            <a:r>
              <a:rPr lang="da-DK" sz="1200" b="1" i="0" kern="1200" cap="all" baseline="0" dirty="0" err="1" smtClean="0">
                <a:solidFill>
                  <a:schemeClr val="tx1"/>
                </a:solidFill>
                <a:effectLst/>
                <a:latin typeface="+mn-lt"/>
                <a:ea typeface="+mn-ea"/>
                <a:cs typeface="+mn-cs"/>
              </a:rPr>
              <a:t>Budget</a:t>
            </a:r>
            <a:r>
              <a:rPr lang="da-DK" sz="1200" b="1" i="0" kern="1200" cap="all" baseline="0" dirty="0" smtClean="0">
                <a:solidFill>
                  <a:schemeClr val="tx1"/>
                </a:solidFill>
                <a:effectLst/>
                <a:latin typeface="+mn-lt"/>
                <a:ea typeface="+mn-ea"/>
                <a:cs typeface="+mn-cs"/>
              </a:rPr>
              <a:t> er 100 mio. kr. </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TRAFIKKEN PÅ INTERNETTET ER TUSINDDOBLET SIDEN ÅR 2000</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Internettet er som et netværk af cykelstier, veje og motorveje, hvor data bevæger sig selvstændigt rundt. Forestiller man sig, at antallet af disse stiger med over 25 % om året, uden at infrastrukturen udbygges tilsvarende, er det ikke svært at forestille sig, at der meget hurtigt opstår trængselsproblemer og kødannelse.</a:t>
            </a:r>
          </a:p>
          <a:p>
            <a:r>
              <a:rPr lang="da-DK" sz="1200" b="0" i="0" kern="1200" dirty="0" smtClean="0">
                <a:solidFill>
                  <a:schemeClr val="tx1"/>
                </a:solidFill>
                <a:effectLst/>
                <a:latin typeface="+mn-lt"/>
                <a:ea typeface="+mn-ea"/>
                <a:cs typeface="+mn-cs"/>
              </a:rPr>
              <a:t>Med Internet of Things, Industri 4.0 og det hastigt stigende antal af online applikationer som medicinsk diagnostik, selvkørende biler og </a:t>
            </a:r>
            <a:r>
              <a:rPr lang="da-DK" sz="1200" b="0" i="0" kern="1200" dirty="0" err="1" smtClean="0">
                <a:solidFill>
                  <a:schemeClr val="tx1"/>
                </a:solidFill>
                <a:effectLst/>
                <a:latin typeface="+mn-lt"/>
                <a:ea typeface="+mn-ea"/>
                <a:cs typeface="+mn-cs"/>
              </a:rPr>
              <a:t>cloud</a:t>
            </a:r>
            <a:r>
              <a:rPr lang="da-DK" sz="1200" b="0" i="0" kern="1200" dirty="0" smtClean="0">
                <a:solidFill>
                  <a:schemeClr val="tx1"/>
                </a:solidFill>
                <a:effectLst/>
                <a:latin typeface="+mn-lt"/>
                <a:ea typeface="+mn-ea"/>
                <a:cs typeface="+mn-cs"/>
              </a:rPr>
              <a:t>-services vil internettrafikken - og dermed også det kolossale energibrug, der skal drive internettet - kun fortsætte opad.</a:t>
            </a:r>
          </a:p>
          <a:p>
            <a:r>
              <a:rPr lang="da-DK" sz="1200" b="0" i="0" kern="1200" dirty="0" smtClean="0">
                <a:solidFill>
                  <a:schemeClr val="tx1"/>
                </a:solidFill>
                <a:effectLst/>
                <a:latin typeface="+mn-lt"/>
                <a:ea typeface="+mn-ea"/>
                <a:cs typeface="+mn-cs"/>
              </a:rPr>
              <a:t>Vi er gået fra simpel kommunikation, der forbandt huse og hjem via fastnettelefoner, til kraftige mobile enheder, der forbinder mennesker i bevægelse med tale og data, til nu oveni at forbinde </a:t>
            </a:r>
            <a:r>
              <a:rPr lang="da-DK" sz="1200" b="0" i="1" kern="1200" dirty="0" smtClean="0">
                <a:solidFill>
                  <a:schemeClr val="tx1"/>
                </a:solidFill>
                <a:effectLst/>
                <a:latin typeface="+mn-lt"/>
                <a:ea typeface="+mn-ea"/>
                <a:cs typeface="+mn-cs"/>
              </a:rPr>
              <a:t>ting</a:t>
            </a:r>
            <a:r>
              <a:rPr lang="da-DK" sz="1200" b="0" i="0" kern="1200" dirty="0" smtClean="0">
                <a:solidFill>
                  <a:schemeClr val="tx1"/>
                </a:solidFill>
                <a:effectLst/>
                <a:latin typeface="+mn-lt"/>
                <a:ea typeface="+mn-ea"/>
                <a:cs typeface="+mn-cs"/>
              </a:rPr>
              <a:t> i et Internet of Things, hvor ting og maskiner kommunikerer med hinanden. Den del vokser med mere end 30 % årligt og forventes i 2020 at forbinde mere end 20 mia. enheder. Al den kommunikation foregår også via internettet.</a:t>
            </a:r>
          </a:p>
          <a:p>
            <a:r>
              <a:rPr lang="da-DK" sz="1200" b="0" i="0" kern="1200" dirty="0" smtClean="0">
                <a:solidFill>
                  <a:schemeClr val="tx1"/>
                </a:solidFill>
                <a:effectLst/>
                <a:latin typeface="+mn-lt"/>
                <a:ea typeface="+mn-ea"/>
                <a:cs typeface="+mn-cs"/>
              </a:rPr>
              <a:t>Alt dette bruger enorme mængder energi, vi løber snart tør for plads i infrastrukturen, og sikkerheden er et stadigt stigende fokusområde. Det kræver alt sammen ny teknologi.</a:t>
            </a:r>
          </a:p>
          <a:p>
            <a:r>
              <a:rPr lang="da-DK" sz="1200" b="0" i="0" kern="1200" dirty="0" smtClean="0">
                <a:solidFill>
                  <a:schemeClr val="tx1"/>
                </a:solidFill>
                <a:effectLst/>
                <a:latin typeface="+mn-lt"/>
                <a:ea typeface="+mn-ea"/>
                <a:cs typeface="+mn-cs"/>
              </a:rPr>
              <a:t>I et nyt treårigt Grand Solutions-projekt til 100 mio. kr., som er støttet af Innovationsfonden med 60 mio., samles DTU, Aarhus Universitet og 12 danske virksomheder. Projektet hedder INCOM og har til opgave at skabe nye løsninger til den næste generation af kommunikationsinfrastruktur. Projektet har herudover mere end 15 associerede partnere, hvoraf hovedparten kommer fra industrien.</a:t>
            </a:r>
          </a:p>
          <a:p>
            <a:r>
              <a:rPr lang="da-DK" sz="1200" b="0" i="0" kern="1200" dirty="0" smtClean="0">
                <a:solidFill>
                  <a:schemeClr val="tx1"/>
                </a:solidFill>
                <a:effectLst/>
                <a:latin typeface="+mn-lt"/>
                <a:ea typeface="+mn-ea"/>
                <a:cs typeface="+mn-cs"/>
              </a:rPr>
              <a:t>- Det er nok de færreste, der ved, at alle de trådløse forbindelser, vi i dag bruger så flittigt, i virkeligheden kun er trådløse det første korte stykke vej. Herefter bæres trafikken i kablede optiske forbindelser på kryds og tværs gennem lande og under oceaner. Det er her, INCOM kommer ind i billedet, for verden har akut behov for at gøre de forbindelser stærkere og grønnere, siger professor Leif </a:t>
            </a:r>
            <a:r>
              <a:rPr lang="da-DK" sz="1200" b="0" i="0" kern="1200" dirty="0" err="1" smtClean="0">
                <a:solidFill>
                  <a:schemeClr val="tx1"/>
                </a:solidFill>
                <a:effectLst/>
                <a:latin typeface="+mn-lt"/>
                <a:ea typeface="+mn-ea"/>
                <a:cs typeface="+mn-cs"/>
              </a:rPr>
              <a:t>Katsuo</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Oxenløwe</a:t>
            </a:r>
            <a:r>
              <a:rPr lang="da-DK" sz="1200" b="0" i="0" kern="1200" dirty="0" smtClean="0">
                <a:solidFill>
                  <a:schemeClr val="tx1"/>
                </a:solidFill>
                <a:effectLst/>
                <a:latin typeface="+mn-lt"/>
                <a:ea typeface="+mn-ea"/>
                <a:cs typeface="+mn-cs"/>
              </a:rPr>
              <a:t> fra DTU Fotonik, som er idémand bag det nye Innovationsfondsprojekt.</a:t>
            </a:r>
          </a:p>
          <a:p>
            <a:r>
              <a:rPr lang="da-DK" sz="1200" b="0" i="0" kern="1200" dirty="0" smtClean="0">
                <a:solidFill>
                  <a:schemeClr val="tx1"/>
                </a:solidFill>
                <a:effectLst/>
                <a:latin typeface="+mn-lt"/>
                <a:ea typeface="+mn-ea"/>
                <a:cs typeface="+mn-cs"/>
              </a:rPr>
              <a:t>Informationsalderens knudepunkter er datacentre, som er forbundet af interkontinentale optiske kabler, der med høj hastighed transmitterer information fra maskine til maskine og fra menneske til menneske - på bare 30 år er halvdelen af verdens befolkning blevet forbundet til internettet.</a:t>
            </a:r>
          </a:p>
          <a:p>
            <a:r>
              <a:rPr lang="da-DK" sz="1200" b="0" i="0" kern="1200" dirty="0" smtClean="0">
                <a:solidFill>
                  <a:schemeClr val="tx1"/>
                </a:solidFill>
                <a:effectLst/>
                <a:latin typeface="+mn-lt"/>
                <a:ea typeface="+mn-ea"/>
                <a:cs typeface="+mn-cs"/>
              </a:rPr>
              <a:t>Udviklingen kommer dog ikke uden en stor energiregning. Den globale kommunikation forbruger så meget energi, at den udleder over 2 % af al menneskeskabt CO2, og datatrafikken stiger årligt med over 25 %. Kravene til den nye infrastruktur er derfor primært, at den skal levere meget større kapacitet med et markant lavere energiforbrug. Hertil kommer en større grad af pålidelighed, minimale forsinkelser og øget sikkerhed.</a:t>
            </a:r>
          </a:p>
          <a:p>
            <a:r>
              <a:rPr lang="da-DK" sz="1200" b="0" i="0" kern="1200" dirty="0" smtClean="0">
                <a:solidFill>
                  <a:schemeClr val="tx1"/>
                </a:solidFill>
                <a:effectLst/>
                <a:latin typeface="+mn-lt"/>
                <a:ea typeface="+mn-ea"/>
                <a:cs typeface="+mn-cs"/>
              </a:rPr>
              <a:t>INCOM vil bl.a. gøre det muligt at reducere antallet af lyskilder til at drive internettet ved at forfine en såkaldt ”frekvenskam”, således at én laser kan erstatte adskillige hundrede lasere. Det giver en stor effektbesparelse i hele nettet og i datacentrene og kan samtidigt give øgede datahastigheder på mere end 400 </a:t>
            </a:r>
            <a:r>
              <a:rPr lang="da-DK" sz="1200" b="0" i="0" kern="1200" dirty="0" err="1" smtClean="0">
                <a:solidFill>
                  <a:schemeClr val="tx1"/>
                </a:solidFill>
                <a:effectLst/>
                <a:latin typeface="+mn-lt"/>
                <a:ea typeface="+mn-ea"/>
                <a:cs typeface="+mn-cs"/>
              </a:rPr>
              <a:t>GBit</a:t>
            </a:r>
            <a:r>
              <a:rPr lang="da-DK" sz="1200" b="0" i="0" kern="1200" dirty="0" smtClean="0">
                <a:solidFill>
                  <a:schemeClr val="tx1"/>
                </a:solidFill>
                <a:effectLst/>
                <a:latin typeface="+mn-lt"/>
                <a:ea typeface="+mn-ea"/>
                <a:cs typeface="+mn-cs"/>
              </a:rPr>
              <a:t>/s. INCOM arbejder også med at integrere kredsløb for lys på en chip, der for alvor vil reducere prisen og effektforbruget, idet meget af den signalbehandling, der nu foregår elektrisk, kan laves direkte i det optiske domæne. Energiforbruget til at konvertere fra lys til elektricitet fjernes altså helt.</a:t>
            </a:r>
          </a:p>
          <a:p>
            <a:r>
              <a:rPr lang="da-DK" sz="1200" b="0" i="0" kern="1200" dirty="0" smtClean="0">
                <a:solidFill>
                  <a:schemeClr val="tx1"/>
                </a:solidFill>
                <a:effectLst/>
                <a:latin typeface="+mn-lt"/>
                <a:ea typeface="+mn-ea"/>
                <a:cs typeface="+mn-cs"/>
              </a:rPr>
              <a:t>- I løbet af de seneste år har vi etableret Aarhus Universitet som et center for </a:t>
            </a:r>
            <a:r>
              <a:rPr lang="da-DK" sz="1200" b="0" i="0" kern="1200" dirty="0" err="1" smtClean="0">
                <a:solidFill>
                  <a:schemeClr val="tx1"/>
                </a:solidFill>
                <a:effectLst/>
                <a:latin typeface="+mn-lt"/>
                <a:ea typeface="+mn-ea"/>
                <a:cs typeface="+mn-cs"/>
              </a:rPr>
              <a:t>fotonisk</a:t>
            </a:r>
            <a:r>
              <a:rPr lang="da-DK" sz="1200" b="0" i="0" kern="1200" dirty="0" smtClean="0">
                <a:solidFill>
                  <a:schemeClr val="tx1"/>
                </a:solidFill>
                <a:effectLst/>
                <a:latin typeface="+mn-lt"/>
                <a:ea typeface="+mn-ea"/>
                <a:cs typeface="+mn-cs"/>
              </a:rPr>
              <a:t> integration, der forbinder danske slutbrugere med europæiske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platforme. Sammen med vores projektpartnere vil vi bringe denne teknologi tættere på markedet. Samtidig vil vi i INCOM-projektet undersøge og implementere nye, simple, energieffektive og skalérbare end-to-end sikkerhedsordninger på tværs af </a:t>
            </a:r>
            <a:r>
              <a:rPr lang="da-DK" sz="1200" b="0" i="0" kern="1200" dirty="0" err="1" smtClean="0">
                <a:solidFill>
                  <a:schemeClr val="tx1"/>
                </a:solidFill>
                <a:effectLst/>
                <a:latin typeface="+mn-lt"/>
                <a:ea typeface="+mn-ea"/>
                <a:cs typeface="+mn-cs"/>
              </a:rPr>
              <a:t>IoT</a:t>
            </a:r>
            <a:r>
              <a:rPr lang="da-DK" sz="1200" b="0" i="0" kern="1200" dirty="0" smtClean="0">
                <a:solidFill>
                  <a:schemeClr val="tx1"/>
                </a:solidFill>
                <a:effectLst/>
                <a:latin typeface="+mn-lt"/>
                <a:ea typeface="+mn-ea"/>
                <a:cs typeface="+mn-cs"/>
              </a:rPr>
              <a:t>-infrastrukturen, siger lektor </a:t>
            </a:r>
            <a:r>
              <a:rPr lang="da-DK" sz="1200" b="0" i="0" kern="1200" dirty="0" err="1" smtClean="0">
                <a:solidFill>
                  <a:schemeClr val="tx1"/>
                </a:solidFill>
                <a:effectLst/>
                <a:latin typeface="+mn-lt"/>
                <a:ea typeface="+mn-ea"/>
                <a:cs typeface="+mn-cs"/>
              </a:rPr>
              <a:t>Martijn</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Heck</a:t>
            </a:r>
            <a:r>
              <a:rPr lang="da-DK" sz="1200" b="0" i="0" kern="1200" dirty="0" smtClean="0">
                <a:solidFill>
                  <a:schemeClr val="tx1"/>
                </a:solidFill>
                <a:effectLst/>
                <a:latin typeface="+mn-lt"/>
                <a:ea typeface="+mn-ea"/>
                <a:cs typeface="+mn-cs"/>
              </a:rPr>
              <a:t> fra Institut for Ingeniørvidenskab, Aarhus Universitet.</a:t>
            </a:r>
          </a:p>
          <a:p>
            <a:r>
              <a:rPr lang="da-DK" sz="1200" b="0" i="0" kern="1200" dirty="0" smtClean="0">
                <a:solidFill>
                  <a:schemeClr val="tx1"/>
                </a:solidFill>
                <a:effectLst/>
                <a:latin typeface="+mn-lt"/>
                <a:ea typeface="+mn-ea"/>
                <a:cs typeface="+mn-cs"/>
              </a:rPr>
              <a:t>Den kombinerede effekt af det stabile danske samfund med en stærk infrastruktur på tele, data og grøn energi tiltrækker store datacentre og et stigende antal højkapacitets interkontinentale søkabler. En fortsat stærk dansk position og vækst på dette meget konkurrencebetonede marked kræver en stor og risikofyldt indsats. Det gør sig især gældende i industrier, der har behov for tidligt at kunne tage innovative løsninger fra universiteterne og bringe dem ud til markedet i form af nye produkter og services.</a:t>
            </a:r>
          </a:p>
          <a:p>
            <a:r>
              <a:rPr lang="da-DK" sz="1200" b="0" i="0" kern="1200" dirty="0" smtClean="0">
                <a:solidFill>
                  <a:schemeClr val="tx1"/>
                </a:solidFill>
                <a:effectLst/>
                <a:latin typeface="+mn-lt"/>
                <a:ea typeface="+mn-ea"/>
                <a:cs typeface="+mn-cs"/>
              </a:rPr>
              <a:t>Behovet for at bygge ny infrastruktur med energirigtige bredbåndsløsninger rummer store muligheder. Danske universiteter har stor ekspertise netop på de rette tekniske områder, og danske virksomheder er klar til at tage de nye teknologier og bringe dem på verdensmarkedet. </a:t>
            </a:r>
            <a:r>
              <a:rPr lang="da-DK" sz="1200" b="0" i="0" kern="1200" dirty="0" err="1" smtClean="0">
                <a:solidFill>
                  <a:schemeClr val="tx1"/>
                </a:solidFill>
                <a:effectLst/>
                <a:latin typeface="+mn-lt"/>
                <a:ea typeface="+mn-ea"/>
                <a:cs typeface="+mn-cs"/>
              </a:rPr>
              <a:t>INCOMs</a:t>
            </a:r>
            <a:r>
              <a:rPr lang="da-DK" sz="1200" b="0" i="0" kern="1200" dirty="0" smtClean="0">
                <a:solidFill>
                  <a:schemeClr val="tx1"/>
                </a:solidFill>
                <a:effectLst/>
                <a:latin typeface="+mn-lt"/>
                <a:ea typeface="+mn-ea"/>
                <a:cs typeface="+mn-cs"/>
              </a:rPr>
              <a:t> formål er at gøre dette muligt og herved skabe vækst i industrien. Således forventer hver af de deltagende virksomheder 5 år efter et vellykket INCOM-projekt at have øge deres årlige omsætning fra få til adskillige hundrede mio. kr. og øge deres samlede beskæftigelse med omkring 100 jobs.</a:t>
            </a:r>
          </a:p>
          <a:p>
            <a:r>
              <a:rPr lang="da-DK" sz="1200" b="0" i="0" kern="1200" dirty="0" smtClean="0">
                <a:solidFill>
                  <a:schemeClr val="tx1"/>
                </a:solidFill>
                <a:effectLst/>
                <a:latin typeface="+mn-lt"/>
                <a:ea typeface="+mn-ea"/>
                <a:cs typeface="+mn-cs"/>
              </a:rPr>
              <a:t>- Ny teknologi kan hjælpe os med at løse en lang række konkrete udfordringer og skabe et bedre samfund, men det kræver også store mængder energi. Det her er et spændende projekt, da det er helt afgørende, at vi får gjort den digitale infrastruktur mere energieffektiv, siger Uddannelses- og Forskningsminister Tommy Ahlers.</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7</a:t>
            </a:fld>
            <a:endParaRPr lang="en-GB" dirty="0"/>
          </a:p>
        </p:txBody>
      </p:sp>
    </p:spTree>
    <p:extLst>
      <p:ext uri="{BB962C8B-B14F-4D97-AF65-F5344CB8AC3E}">
        <p14:creationId xmlns:p14="http://schemas.microsoft.com/office/powerpoint/2010/main" val="28175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pdateret med </a:t>
            </a:r>
            <a:r>
              <a:rPr lang="da-DK" dirty="0" err="1" smtClean="0"/>
              <a:t>særcall</a:t>
            </a:r>
            <a:r>
              <a:rPr lang="da-DK" dirty="0" smtClean="0"/>
              <a:t> på borgernær</a:t>
            </a:r>
            <a:r>
              <a:rPr lang="da-DK" baseline="0" dirty="0" smtClean="0"/>
              <a:t> sundheds løsninger og digitaliserings center</a:t>
            </a:r>
          </a:p>
          <a:p>
            <a:r>
              <a:rPr lang="da-DK" baseline="0" dirty="0" smtClean="0"/>
              <a:t>Tal baseret KUN på fordeling af forsknings reserven – yderligere midler fra finanslov er på vej – men ikke vedtaget endnu.</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1</a:t>
            </a:fld>
            <a:endParaRPr lang="en-GB" dirty="0"/>
          </a:p>
        </p:txBody>
      </p:sp>
    </p:spTree>
    <p:extLst>
      <p:ext uri="{BB962C8B-B14F-4D97-AF65-F5344CB8AC3E}">
        <p14:creationId xmlns:p14="http://schemas.microsoft.com/office/powerpoint/2010/main" val="3721101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8</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9" name="Shape 699"/>
          <p:cNvSpPr>
            <a:spLocks noGrp="1" noRot="1" noChangeAspect="1"/>
          </p:cNvSpPr>
          <p:nvPr>
            <p:ph type="sldImg"/>
          </p:nvPr>
        </p:nvSpPr>
        <p:spPr>
          <a:prstGeom prst="rect">
            <a:avLst/>
          </a:prstGeom>
        </p:spPr>
        <p:txBody>
          <a:bodyPr/>
          <a:lstStyle/>
          <a:p>
            <a:endParaRPr/>
          </a:p>
        </p:txBody>
      </p:sp>
      <p:sp>
        <p:nvSpPr>
          <p:cNvPr id="700" name="Shape 700"/>
          <p:cNvSpPr>
            <a:spLocks noGrp="1"/>
          </p:cNvSpPr>
          <p:nvPr>
            <p:ph type="body" sz="quarter" idx="1"/>
          </p:nvPr>
        </p:nvSpPr>
        <p:spPr>
          <a:prstGeom prst="rect">
            <a:avLst/>
          </a:prstGeom>
        </p:spPr>
        <p:txBody>
          <a:bodyPr/>
          <a:lstStyle>
            <a:lvl1pPr defTabSz="584200">
              <a:lnSpc>
                <a:spcPct val="100000"/>
              </a:lnSpc>
              <a:defRPr sz="2200">
                <a:latin typeface="Lucida Grande"/>
                <a:ea typeface="Lucida Grande"/>
                <a:cs typeface="Lucida Grande"/>
                <a:sym typeface="Lucida Grande"/>
              </a:defRPr>
            </a:lvl1pPr>
          </a:lstStyle>
          <a:p>
            <a:r>
              <a:t>Especially complex problems - AND none the least: RESEARCH problems!</a:t>
            </a:r>
          </a:p>
        </p:txBody>
      </p:sp>
    </p:spTree>
    <p:extLst>
      <p:ext uri="{BB962C8B-B14F-4D97-AF65-F5344CB8AC3E}">
        <p14:creationId xmlns:p14="http://schemas.microsoft.com/office/powerpoint/2010/main" val="4224303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2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3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4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3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190470" y="1152197"/>
            <a:ext cx="9809473" cy="2322256"/>
          </a:xfrm>
          <a:prstGeom prst="rect">
            <a:avLst/>
          </a:prstGeom>
        </p:spPr>
        <p:txBody>
          <a:bodyPr anchor="b"/>
          <a:lstStyle/>
          <a:p>
            <a:r>
              <a:t>Title Text</a:t>
            </a:r>
          </a:p>
        </p:txBody>
      </p:sp>
      <p:sp>
        <p:nvSpPr>
          <p:cNvPr id="12" name="Shape 12"/>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50050118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05945" y="446588"/>
            <a:ext cx="9166619" cy="4162198"/>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1190470" y="4724898"/>
            <a:ext cx="9809473" cy="1000357"/>
          </a:xfrm>
          <a:prstGeom prst="rect">
            <a:avLst/>
          </a:prstGeom>
        </p:spPr>
        <p:txBody>
          <a:bodyPr anchor="b"/>
          <a:lstStyle/>
          <a:p>
            <a:r>
              <a:t>Title Text</a:t>
            </a:r>
          </a:p>
        </p:txBody>
      </p:sp>
      <p:sp>
        <p:nvSpPr>
          <p:cNvPr id="22" name="Shape 22"/>
          <p:cNvSpPr>
            <a:spLocks noGrp="1"/>
          </p:cNvSpPr>
          <p:nvPr>
            <p:ph type="body" sz="quarter" idx="1"/>
          </p:nvPr>
        </p:nvSpPr>
        <p:spPr>
          <a:xfrm>
            <a:off x="1190470" y="5760982"/>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xfrm>
            <a:off x="5916540" y="6502318"/>
            <a:ext cx="391774" cy="297389"/>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045560414"/>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190470" y="2268666"/>
            <a:ext cx="9809473" cy="2322256"/>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205711582"/>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297586" y="446588"/>
            <a:ext cx="4999974" cy="5787777"/>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92853" y="446588"/>
            <a:ext cx="4999974" cy="2804571"/>
          </a:xfrm>
          <a:prstGeom prst="rect">
            <a:avLst/>
          </a:prstGeom>
        </p:spPr>
        <p:txBody>
          <a:bodyPr anchor="b"/>
          <a:lstStyle>
            <a:lvl1pPr>
              <a:defRPr sz="4220"/>
            </a:lvl1pPr>
          </a:lstStyle>
          <a:p>
            <a:r>
              <a:t>Title Text</a:t>
            </a:r>
          </a:p>
        </p:txBody>
      </p:sp>
      <p:sp>
        <p:nvSpPr>
          <p:cNvPr id="40" name="Shape 40"/>
          <p:cNvSpPr>
            <a:spLocks noGrp="1"/>
          </p:cNvSpPr>
          <p:nvPr>
            <p:ph type="body" sz="quarter" idx="1"/>
          </p:nvPr>
        </p:nvSpPr>
        <p:spPr>
          <a:xfrm>
            <a:off x="892853" y="3349408"/>
            <a:ext cx="4999974" cy="2884957"/>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956805986"/>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33384511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703958674"/>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297586" y="1831010"/>
            <a:ext cx="4999974" cy="4421219"/>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92853" y="1831010"/>
            <a:ext cx="4999974" cy="4421219"/>
          </a:xfrm>
          <a:prstGeom prst="rect">
            <a:avLst/>
          </a:prstGeom>
        </p:spPr>
        <p:txBody>
          <a:bodyPr/>
          <a:lstStyle>
            <a:lvl1pPr marL="241162" indent="-241162">
              <a:spcBef>
                <a:spcPts val="2251"/>
              </a:spcBef>
              <a:defRPr sz="1969"/>
            </a:lvl1pPr>
            <a:lvl2pPr marL="482323" indent="-241162">
              <a:spcBef>
                <a:spcPts val="2251"/>
              </a:spcBef>
              <a:defRPr sz="1969"/>
            </a:lvl2pPr>
            <a:lvl3pPr marL="723485" indent="-241162">
              <a:spcBef>
                <a:spcPts val="2251"/>
              </a:spcBef>
              <a:defRPr sz="1969"/>
            </a:lvl3pPr>
            <a:lvl4pPr marL="964646" indent="-241162">
              <a:spcBef>
                <a:spcPts val="2251"/>
              </a:spcBef>
              <a:defRPr sz="1969"/>
            </a:lvl4pPr>
            <a:lvl5pPr marL="1205808" indent="-241162">
              <a:spcBef>
                <a:spcPts val="2251"/>
              </a:spcBef>
              <a:defRPr sz="1969"/>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05710771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92853" y="893176"/>
            <a:ext cx="10404708" cy="507323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973671722"/>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half" idx="13"/>
          </p:nvPr>
        </p:nvSpPr>
        <p:spPr>
          <a:xfrm>
            <a:off x="892853" y="625223"/>
            <a:ext cx="4999974" cy="5609142"/>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6297586" y="3581634"/>
            <a:ext cx="4999974" cy="2652731"/>
          </a:xfrm>
          <a:prstGeom prst="rect">
            <a:avLst/>
          </a:prstGeom>
        </p:spPr>
        <p:txBody>
          <a:bodyPr lIns="91439" tIns="45719" rIns="91439" bIns="45719" anchor="t">
            <a:noAutofit/>
          </a:bodyPr>
          <a:lstStyle/>
          <a:p>
            <a:endParaRPr/>
          </a:p>
        </p:txBody>
      </p:sp>
      <p:sp>
        <p:nvSpPr>
          <p:cNvPr id="85" name="Shape 85"/>
          <p:cNvSpPr>
            <a:spLocks noGrp="1"/>
          </p:cNvSpPr>
          <p:nvPr>
            <p:ph type="pic" sz="quarter" idx="15"/>
          </p:nvPr>
        </p:nvSpPr>
        <p:spPr>
          <a:xfrm>
            <a:off x="6303415" y="625223"/>
            <a:ext cx="4999975" cy="2652731"/>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01898682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0470" y="4474809"/>
            <a:ext cx="9809473" cy="362343"/>
          </a:xfrm>
          <a:prstGeom prst="rect">
            <a:avLst/>
          </a:prstGeom>
        </p:spPr>
        <p:txBody>
          <a:bodyPr anchor="t">
            <a:spAutoFit/>
          </a:bodyPr>
          <a:lstStyle>
            <a:lvl1pPr marL="0" indent="0" algn="ctr">
              <a:spcBef>
                <a:spcPts val="0"/>
              </a:spcBef>
              <a:buSzTx/>
              <a:buNone/>
              <a:defRPr sz="1688"/>
            </a:lvl1pPr>
          </a:lstStyle>
          <a:p>
            <a:r>
              <a:t>–Johnny Appleseed</a:t>
            </a:r>
          </a:p>
        </p:txBody>
      </p:sp>
      <p:sp>
        <p:nvSpPr>
          <p:cNvPr id="94" name="Shape 94"/>
          <p:cNvSpPr>
            <a:spLocks noGrp="1"/>
          </p:cNvSpPr>
          <p:nvPr>
            <p:ph type="body" sz="quarter" idx="14"/>
          </p:nvPr>
        </p:nvSpPr>
        <p:spPr>
          <a:xfrm>
            <a:off x="1190470" y="2985266"/>
            <a:ext cx="9809473" cy="513923"/>
          </a:xfrm>
          <a:prstGeom prst="rect">
            <a:avLst/>
          </a:prstGeom>
        </p:spPr>
        <p:txBody>
          <a:bodyPr>
            <a:spAutoFit/>
          </a:bodyPr>
          <a:lstStyle>
            <a:lvl1pPr marL="0" indent="0" algn="ctr">
              <a:spcBef>
                <a:spcPts val="0"/>
              </a:spcBef>
              <a:buSzTx/>
              <a:buNone/>
              <a:defRPr sz="2673"/>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56851549"/>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85368" cy="6859588"/>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84196482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69110451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Title &amp; Bullets copy">
    <p:spTree>
      <p:nvGrpSpPr>
        <p:cNvPr id="1" name=""/>
        <p:cNvGrpSpPr/>
        <p:nvPr/>
      </p:nvGrpSpPr>
      <p:grpSpPr>
        <a:xfrm>
          <a:off x="0" y="0"/>
          <a:ext cx="0" cy="0"/>
          <a:chOff x="0" y="0"/>
          <a:chExt cx="0" cy="0"/>
        </a:xfrm>
      </p:grpSpPr>
      <p:sp>
        <p:nvSpPr>
          <p:cNvPr id="117" name="Shape 117"/>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118" name="Shape 11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29910031"/>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type="tx">
  <p:cSld name="Title &amp; Bullets copy 10">
    <p:spTree>
      <p:nvGrpSpPr>
        <p:cNvPr id="1" name=""/>
        <p:cNvGrpSpPr/>
        <p:nvPr/>
      </p:nvGrpSpPr>
      <p:grpSpPr>
        <a:xfrm>
          <a:off x="0" y="0"/>
          <a:ext cx="0" cy="0"/>
          <a:chOff x="0" y="0"/>
          <a:chExt cx="0" cy="0"/>
        </a:xfrm>
      </p:grpSpPr>
      <p:sp>
        <p:nvSpPr>
          <p:cNvPr id="126" name="Shape 126"/>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27" name="Shape 127"/>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 name="Shape 128"/>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32015236"/>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35" name="Shape 135"/>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36" name="Shape 136"/>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37" name="Shape 137"/>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12805888"/>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type="tx">
  <p:cSld name="Title &amp; Bullets copy 3">
    <p:spTree>
      <p:nvGrpSpPr>
        <p:cNvPr id="1" name=""/>
        <p:cNvGrpSpPr/>
        <p:nvPr/>
      </p:nvGrpSpPr>
      <p:grpSpPr>
        <a:xfrm>
          <a:off x="0" y="0"/>
          <a:ext cx="0" cy="0"/>
          <a:chOff x="0" y="0"/>
          <a:chExt cx="0" cy="0"/>
        </a:xfrm>
      </p:grpSpPr>
      <p:sp>
        <p:nvSpPr>
          <p:cNvPr id="144" name="Shape 144"/>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45" name="Shape 145"/>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46" name="Shape 146"/>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909029037"/>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Standarddesign copy 1">
    <p:spTree>
      <p:nvGrpSpPr>
        <p:cNvPr id="1" name=""/>
        <p:cNvGrpSpPr/>
        <p:nvPr/>
      </p:nvGrpSpPr>
      <p:grpSpPr>
        <a:xfrm>
          <a:off x="0" y="0"/>
          <a:ext cx="0" cy="0"/>
          <a:chOff x="0" y="0"/>
          <a:chExt cx="0" cy="0"/>
        </a:xfrm>
      </p:grpSpPr>
      <p:sp>
        <p:nvSpPr>
          <p:cNvPr id="153" name="Shape 153"/>
          <p:cNvSpPr>
            <a:spLocks noGrp="1"/>
          </p:cNvSpPr>
          <p:nvPr>
            <p:ph type="title"/>
          </p:nvPr>
        </p:nvSpPr>
        <p:spPr>
          <a:xfrm>
            <a:off x="607140" y="90509"/>
            <a:ext cx="10976134" cy="1510062"/>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54" name="Shape 154"/>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 name="Shape 155"/>
          <p:cNvSpPr>
            <a:spLocks noGrp="1"/>
          </p:cNvSpPr>
          <p:nvPr>
            <p:ph type="sldNum" sz="quarter" idx="2"/>
          </p:nvPr>
        </p:nvSpPr>
        <p:spPr>
          <a:xfrm>
            <a:off x="9984873"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3513388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tx">
  <p:cSld name="1_Title &amp; Bullets copy">
    <p:spTree>
      <p:nvGrpSpPr>
        <p:cNvPr id="1" name=""/>
        <p:cNvGrpSpPr/>
        <p:nvPr/>
      </p:nvGrpSpPr>
      <p:grpSpPr>
        <a:xfrm>
          <a:off x="0" y="0"/>
          <a:ext cx="0" cy="0"/>
          <a:chOff x="0" y="0"/>
          <a:chExt cx="0" cy="0"/>
        </a:xfrm>
      </p:grpSpPr>
      <p:sp>
        <p:nvSpPr>
          <p:cNvPr id="162" name="Shape 162"/>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63" name="Shape 163"/>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4" name="Shape 164"/>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32468123"/>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type="tx">
  <p:cSld name="Title &amp; Bullets copy 9">
    <p:spTree>
      <p:nvGrpSpPr>
        <p:cNvPr id="1" name=""/>
        <p:cNvGrpSpPr/>
        <p:nvPr/>
      </p:nvGrpSpPr>
      <p:grpSpPr>
        <a:xfrm>
          <a:off x="0" y="0"/>
          <a:ext cx="0" cy="0"/>
          <a:chOff x="0" y="0"/>
          <a:chExt cx="0" cy="0"/>
        </a:xfrm>
      </p:grpSpPr>
      <p:sp>
        <p:nvSpPr>
          <p:cNvPr id="171" name="Shape 171"/>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72" name="Shape 17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3" name="Shape 173"/>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84655341"/>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type="tx">
  <p:cSld name="Title &amp; Bullets copy 1">
    <p:spTree>
      <p:nvGrpSpPr>
        <p:cNvPr id="1" name=""/>
        <p:cNvGrpSpPr/>
        <p:nvPr/>
      </p:nvGrpSpPr>
      <p:grpSpPr>
        <a:xfrm>
          <a:off x="0" y="0"/>
          <a:ext cx="0" cy="0"/>
          <a:chOff x="0" y="0"/>
          <a:chExt cx="0" cy="0"/>
        </a:xfrm>
      </p:grpSpPr>
      <p:sp>
        <p:nvSpPr>
          <p:cNvPr id="180" name="Shape 180"/>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81" name="Shape 181"/>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23627673"/>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type="tx">
  <p:cSld name="Title &amp; Bullets copy 7">
    <p:spTree>
      <p:nvGrpSpPr>
        <p:cNvPr id="1" name=""/>
        <p:cNvGrpSpPr/>
        <p:nvPr/>
      </p:nvGrpSpPr>
      <p:grpSpPr>
        <a:xfrm>
          <a:off x="0" y="0"/>
          <a:ext cx="0" cy="0"/>
          <a:chOff x="0" y="0"/>
          <a:chExt cx="0" cy="0"/>
        </a:xfrm>
      </p:grpSpPr>
      <p:sp>
        <p:nvSpPr>
          <p:cNvPr id="189" name="Shape 189"/>
          <p:cNvSpPr>
            <a:spLocks noGrp="1"/>
          </p:cNvSpPr>
          <p:nvPr>
            <p:ph type="title"/>
          </p:nvPr>
        </p:nvSpPr>
        <p:spPr>
          <a:xfrm>
            <a:off x="916662" y="384066"/>
            <a:ext cx="10357089" cy="1598784"/>
          </a:xfrm>
          <a:prstGeom prst="rect">
            <a:avLst/>
          </a:prstGeom>
        </p:spPr>
        <p:txBody>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190" name="Shape 19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9846794" y="6252229"/>
            <a:ext cx="319009" cy="227551"/>
          </a:xfrm>
          <a:prstGeom prst="rect">
            <a:avLst/>
          </a:prstGeom>
        </p:spPr>
        <p:txBody>
          <a:bodyPr>
            <a:normAutofit/>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4026796"/>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x">
  <p:cSld name="2_Title &amp; Bullets">
    <p:spTree>
      <p:nvGrpSpPr>
        <p:cNvPr id="1" name=""/>
        <p:cNvGrpSpPr/>
        <p:nvPr/>
      </p:nvGrpSpPr>
      <p:grpSpPr>
        <a:xfrm>
          <a:off x="0" y="0"/>
          <a:ext cx="0" cy="0"/>
          <a:chOff x="0" y="0"/>
          <a:chExt cx="0" cy="0"/>
        </a:xfrm>
      </p:grpSpPr>
      <p:sp>
        <p:nvSpPr>
          <p:cNvPr id="198" name="Shape 198"/>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99" name="Shape 199"/>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9832493"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25889989"/>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type="tx">
  <p:cSld name="Title &amp; Bullets copy 5">
    <p:spTree>
      <p:nvGrpSpPr>
        <p:cNvPr id="1" name=""/>
        <p:cNvGrpSpPr/>
        <p:nvPr/>
      </p:nvGrpSpPr>
      <p:grpSpPr>
        <a:xfrm>
          <a:off x="0" y="0"/>
          <a:ext cx="0" cy="0"/>
          <a:chOff x="0" y="0"/>
          <a:chExt cx="0" cy="0"/>
        </a:xfrm>
      </p:grpSpPr>
      <p:sp>
        <p:nvSpPr>
          <p:cNvPr id="207" name="Shape 207"/>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08" name="Shape 208"/>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42985500"/>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type="tx">
  <p:cSld name="2_Title &amp; Bullets copy">
    <p:spTree>
      <p:nvGrpSpPr>
        <p:cNvPr id="1" name=""/>
        <p:cNvGrpSpPr/>
        <p:nvPr/>
      </p:nvGrpSpPr>
      <p:grpSpPr>
        <a:xfrm>
          <a:off x="0" y="0"/>
          <a:ext cx="0" cy="0"/>
          <a:chOff x="0" y="0"/>
          <a:chExt cx="0" cy="0"/>
        </a:xfrm>
      </p:grpSpPr>
      <p:sp>
        <p:nvSpPr>
          <p:cNvPr id="216" name="Shape 216"/>
          <p:cNvSpPr>
            <a:spLocks noGrp="1"/>
          </p:cNvSpPr>
          <p:nvPr>
            <p:ph type="title"/>
          </p:nvPr>
        </p:nvSpPr>
        <p:spPr>
          <a:xfrm>
            <a:off x="916662" y="384066"/>
            <a:ext cx="10357089" cy="1598784"/>
          </a:xfrm>
          <a:prstGeom prst="rect">
            <a:avLst/>
          </a:prstGeom>
        </p:spPr>
        <p:txBody>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217" name="Shape 217"/>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8" name="Shape 218"/>
          <p:cNvSpPr>
            <a:spLocks noGrp="1"/>
          </p:cNvSpPr>
          <p:nvPr>
            <p:ph type="sldNum" sz="quarter" idx="2"/>
          </p:nvPr>
        </p:nvSpPr>
        <p:spPr>
          <a:xfrm>
            <a:off x="9831667" y="6252229"/>
            <a:ext cx="345492"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720903568"/>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225" name="Shape 225"/>
          <p:cNvSpPr>
            <a:spLocks noGrp="1"/>
          </p:cNvSpPr>
          <p:nvPr>
            <p:ph type="title"/>
          </p:nvPr>
        </p:nvSpPr>
        <p:spPr>
          <a:xfrm>
            <a:off x="1190470" y="1152197"/>
            <a:ext cx="9809473" cy="2322256"/>
          </a:xfrm>
          <a:prstGeom prst="rect">
            <a:avLst/>
          </a:prstGeom>
        </p:spPr>
        <p:txBody>
          <a:bodyPr anchor="b"/>
          <a:lstStyle>
            <a:lvl1pPr>
              <a:defRPr sz="5908">
                <a:latin typeface="Gill Sans"/>
                <a:ea typeface="Gill Sans"/>
                <a:cs typeface="Gill Sans"/>
                <a:sym typeface="Gill Sans"/>
              </a:defRPr>
            </a:lvl1pPr>
          </a:lstStyle>
          <a:p>
            <a:r>
              <a:t>Title Text</a:t>
            </a:r>
          </a:p>
        </p:txBody>
      </p:sp>
      <p:sp>
        <p:nvSpPr>
          <p:cNvPr id="226" name="Shape 226"/>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a:latin typeface="Gill Sans"/>
                <a:ea typeface="Gill Sans"/>
                <a:cs typeface="Gill Sans"/>
                <a:sym typeface="Gill Sans"/>
              </a:defRPr>
            </a:lvl1pPr>
            <a:lvl2pPr marL="0" indent="0" algn="ctr">
              <a:spcBef>
                <a:spcPts val="0"/>
              </a:spcBef>
              <a:buSzTx/>
              <a:buNone/>
              <a:defRPr>
                <a:latin typeface="Gill Sans"/>
                <a:ea typeface="Gill Sans"/>
                <a:cs typeface="Gill Sans"/>
                <a:sym typeface="Gill Sans"/>
              </a:defRPr>
            </a:lvl2pPr>
            <a:lvl3pPr marL="0" indent="0" algn="ctr">
              <a:spcBef>
                <a:spcPts val="0"/>
              </a:spcBef>
              <a:buSzTx/>
              <a:buNone/>
              <a:defRPr>
                <a:latin typeface="Gill Sans"/>
                <a:ea typeface="Gill Sans"/>
                <a:cs typeface="Gill Sans"/>
                <a:sym typeface="Gill Sans"/>
              </a:defRPr>
            </a:lvl3pPr>
            <a:lvl4pPr marL="0" indent="0" algn="ctr">
              <a:spcBef>
                <a:spcPts val="0"/>
              </a:spcBef>
              <a:buSzTx/>
              <a:buNone/>
              <a:defRPr>
                <a:latin typeface="Gill Sans"/>
                <a:ea typeface="Gill Sans"/>
                <a:cs typeface="Gill Sans"/>
                <a:sym typeface="Gill Sans"/>
              </a:defRPr>
            </a:lvl4pPr>
            <a:lvl5pPr marL="0" indent="0" algn="ctr">
              <a:spcBef>
                <a:spcPts val="0"/>
              </a:spcBef>
              <a:buSzTx/>
              <a:buNone/>
              <a:defRPr>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7" name="Shape 227"/>
          <p:cNvSpPr>
            <a:spLocks noGrp="1"/>
          </p:cNvSpPr>
          <p:nvPr>
            <p:ph type="sldNum" sz="quarter" idx="2"/>
          </p:nvPr>
        </p:nvSpPr>
        <p:spPr>
          <a:xfrm>
            <a:off x="5928541" y="6511249"/>
            <a:ext cx="321427" cy="259021"/>
          </a:xfrm>
          <a:prstGeom prst="rect">
            <a:avLst/>
          </a:prstGeom>
        </p:spPr>
        <p:txBody>
          <a:bodyPr>
            <a:normAutofit/>
          </a:bodyPr>
          <a:lstStyle>
            <a:lvl1pPr>
              <a:defRPr>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2773660350"/>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3_Title &amp; Bullets">
    <p:spTree>
      <p:nvGrpSpPr>
        <p:cNvPr id="1" name=""/>
        <p:cNvGrpSpPr/>
        <p:nvPr/>
      </p:nvGrpSpPr>
      <p:grpSpPr>
        <a:xfrm>
          <a:off x="0" y="0"/>
          <a:ext cx="0" cy="0"/>
          <a:chOff x="0" y="0"/>
          <a:chExt cx="0" cy="0"/>
        </a:xfrm>
      </p:grpSpPr>
      <p:sp>
        <p:nvSpPr>
          <p:cNvPr id="234" name="Shape 234"/>
          <p:cNvSpPr>
            <a:spLocks noGrp="1"/>
          </p:cNvSpPr>
          <p:nvPr>
            <p:ph type="title"/>
          </p:nvPr>
        </p:nvSpPr>
        <p:spPr>
          <a:xfrm>
            <a:off x="916662" y="384066"/>
            <a:ext cx="10357089" cy="1598784"/>
          </a:xfrm>
          <a:prstGeom prst="rect">
            <a:avLst/>
          </a:prstGeom>
        </p:spPr>
        <p:txBody>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235" name="Shape 235"/>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36" name="Shape 236"/>
          <p:cNvSpPr>
            <a:spLocks noGrp="1"/>
          </p:cNvSpPr>
          <p:nvPr>
            <p:ph type="sldNum" sz="quarter" idx="2"/>
          </p:nvPr>
        </p:nvSpPr>
        <p:spPr>
          <a:xfrm>
            <a:off x="9833154" y="6252229"/>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05507909"/>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type="tx">
  <p:cSld name="1_Title &amp; Bullets copy 7">
    <p:spTree>
      <p:nvGrpSpPr>
        <p:cNvPr id="1" name=""/>
        <p:cNvGrpSpPr/>
        <p:nvPr/>
      </p:nvGrpSpPr>
      <p:grpSpPr>
        <a:xfrm>
          <a:off x="0" y="0"/>
          <a:ext cx="0" cy="0"/>
          <a:chOff x="0" y="0"/>
          <a:chExt cx="0" cy="0"/>
        </a:xfrm>
      </p:grpSpPr>
      <p:sp>
        <p:nvSpPr>
          <p:cNvPr id="243" name="Shape 24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44" name="Shape 24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5" name="Shape 24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190724594"/>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type="tx">
  <p:cSld name="2_Default - Title and Content copy 1">
    <p:spTree>
      <p:nvGrpSpPr>
        <p:cNvPr id="1" name=""/>
        <p:cNvGrpSpPr/>
        <p:nvPr/>
      </p:nvGrpSpPr>
      <p:grpSpPr>
        <a:xfrm>
          <a:off x="0" y="0"/>
          <a:ext cx="0" cy="0"/>
          <a:chOff x="0" y="0"/>
          <a:chExt cx="0" cy="0"/>
        </a:xfrm>
      </p:grpSpPr>
      <p:sp>
        <p:nvSpPr>
          <p:cNvPr id="252" name="Shape 252"/>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53" name="Shape 253"/>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434314"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706737"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71345"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237070"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54" name="Shape 254"/>
          <p:cNvSpPr>
            <a:spLocks noGrp="1"/>
          </p:cNvSpPr>
          <p:nvPr>
            <p:ph type="sldNum" sz="quarter" idx="2"/>
          </p:nvPr>
        </p:nvSpPr>
        <p:spPr>
          <a:xfrm>
            <a:off x="9603708"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871274792"/>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Title &amp; Bullets copy 2">
    <p:spTree>
      <p:nvGrpSpPr>
        <p:cNvPr id="1" name=""/>
        <p:cNvGrpSpPr/>
        <p:nvPr/>
      </p:nvGrpSpPr>
      <p:grpSpPr>
        <a:xfrm>
          <a:off x="0" y="0"/>
          <a:ext cx="0" cy="0"/>
          <a:chOff x="0" y="0"/>
          <a:chExt cx="0" cy="0"/>
        </a:xfrm>
      </p:grpSpPr>
      <p:sp>
        <p:nvSpPr>
          <p:cNvPr id="261" name="Shape 261"/>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262" name="Shape 262"/>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63" name="Shape 263"/>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29347591"/>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70" name="Shape 270"/>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64309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71" name="Shape 271"/>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72" name="Shape 272"/>
          <p:cNvSpPr>
            <a:spLocks noGrp="1"/>
          </p:cNvSpPr>
          <p:nvPr>
            <p:ph type="sldNum" sz="quarter" idx="2"/>
          </p:nvPr>
        </p:nvSpPr>
        <p:spPr>
          <a:xfrm>
            <a:off x="9581486" y="6527724"/>
            <a:ext cx="327047" cy="265042"/>
          </a:xfrm>
          <a:prstGeom prst="rect">
            <a:avLst/>
          </a:prstGeom>
        </p:spPr>
        <p:txBody>
          <a:bodyPr lIns="72248" tIns="72248" rIns="72248" bIns="72248"/>
          <a:lstStyle>
            <a:lvl1pPr>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569882435"/>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1_Title &amp; Bullets copy 5">
    <p:spTree>
      <p:nvGrpSpPr>
        <p:cNvPr id="1" name=""/>
        <p:cNvGrpSpPr/>
        <p:nvPr/>
      </p:nvGrpSpPr>
      <p:grpSpPr>
        <a:xfrm>
          <a:off x="0" y="0"/>
          <a:ext cx="0" cy="0"/>
          <a:chOff x="0" y="0"/>
          <a:chExt cx="0" cy="0"/>
        </a:xfrm>
      </p:grpSpPr>
      <p:sp>
        <p:nvSpPr>
          <p:cNvPr id="279" name="Shape 279"/>
          <p:cNvSpPr>
            <a:spLocks noGrp="1"/>
          </p:cNvSpPr>
          <p:nvPr>
            <p:ph type="title"/>
          </p:nvPr>
        </p:nvSpPr>
        <p:spPr>
          <a:xfrm>
            <a:off x="916662" y="384066"/>
            <a:ext cx="10357089" cy="1598784"/>
          </a:xfrm>
          <a:prstGeom prst="rect">
            <a:avLst/>
          </a:prstGeom>
        </p:spPr>
        <p:txBody>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80" name="Shape 28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81" name="Shape 281"/>
          <p:cNvSpPr>
            <a:spLocks noGrp="1"/>
          </p:cNvSpPr>
          <p:nvPr>
            <p:ph type="sldNum" sz="quarter" idx="2"/>
          </p:nvPr>
        </p:nvSpPr>
        <p:spPr>
          <a:xfrm>
            <a:off x="9833551"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50810449"/>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1_Title &amp; Bullets copy 2">
    <p:spTree>
      <p:nvGrpSpPr>
        <p:cNvPr id="1" name=""/>
        <p:cNvGrpSpPr/>
        <p:nvPr/>
      </p:nvGrpSpPr>
      <p:grpSpPr>
        <a:xfrm>
          <a:off x="0" y="0"/>
          <a:ext cx="0" cy="0"/>
          <a:chOff x="0" y="0"/>
          <a:chExt cx="0" cy="0"/>
        </a:xfrm>
      </p:grpSpPr>
      <p:sp>
        <p:nvSpPr>
          <p:cNvPr id="288" name="Shape 288"/>
          <p:cNvSpPr>
            <a:spLocks noGrp="1"/>
          </p:cNvSpPr>
          <p:nvPr>
            <p:ph type="title"/>
          </p:nvPr>
        </p:nvSpPr>
        <p:spPr>
          <a:xfrm>
            <a:off x="916662" y="0"/>
            <a:ext cx="10357089" cy="2366915"/>
          </a:xfrm>
          <a:prstGeom prst="rect">
            <a:avLst/>
          </a:prstGeom>
        </p:spPr>
        <p:txBody>
          <a:bodyPr>
            <a:noAutofit/>
          </a:bodyPr>
          <a:lstStyle>
            <a:lvl1pPr marL="40650" marR="40650" defTabSz="911055">
              <a:defRPr sz="4079">
                <a:uFill>
                  <a:solidFill>
                    <a:srgbClr val="000000"/>
                  </a:solidFill>
                </a:uFill>
                <a:latin typeface="Times"/>
                <a:ea typeface="Times"/>
                <a:cs typeface="Times"/>
                <a:sym typeface="Times"/>
              </a:defRPr>
            </a:lvl1pPr>
          </a:lstStyle>
          <a:p>
            <a:r>
              <a:t>Title Text</a:t>
            </a:r>
          </a:p>
        </p:txBody>
      </p:sp>
      <p:sp>
        <p:nvSpPr>
          <p:cNvPr id="289" name="Shape 289"/>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Times"/>
                <a:ea typeface="Times"/>
                <a:cs typeface="Times"/>
                <a:sym typeface="Times"/>
              </a:defRPr>
            </a:lvl1pPr>
            <a:lvl2pPr marL="551099" marR="40650" indent="-200968" defTabSz="911055">
              <a:spcBef>
                <a:spcPts val="633"/>
              </a:spcBef>
              <a:buSzPct val="100000"/>
              <a:buChar char="–"/>
              <a:defRPr>
                <a:uFill>
                  <a:solidFill>
                    <a:srgbClr val="000000"/>
                  </a:solidFill>
                </a:uFill>
                <a:latin typeface="Times"/>
                <a:ea typeface="Times"/>
                <a:cs typeface="Times"/>
                <a:sym typeface="Times"/>
              </a:defRPr>
            </a:lvl2pPr>
            <a:lvl3pPr marL="832453" marR="40650" indent="-160774" defTabSz="911055">
              <a:spcBef>
                <a:spcPts val="563"/>
              </a:spcBef>
              <a:buSzPct val="100000"/>
              <a:defRPr sz="2110">
                <a:uFill>
                  <a:solidFill>
                    <a:srgbClr val="000000"/>
                  </a:solidFill>
                </a:uFill>
                <a:latin typeface="Times"/>
                <a:ea typeface="Times"/>
                <a:cs typeface="Times"/>
                <a:sym typeface="Times"/>
              </a:defRPr>
            </a:lvl3pPr>
            <a:lvl4pPr marL="1154002" marR="40650" indent="-160774" defTabSz="911055">
              <a:spcBef>
                <a:spcPts val="422"/>
              </a:spcBef>
              <a:buSzPct val="100000"/>
              <a:buChar char="–"/>
              <a:defRPr sz="1688">
                <a:uFill>
                  <a:solidFill>
                    <a:srgbClr val="000000"/>
                  </a:solidFill>
                </a:uFill>
                <a:latin typeface="Times"/>
                <a:ea typeface="Times"/>
                <a:cs typeface="Times"/>
                <a:sym typeface="Times"/>
              </a:defRPr>
            </a:lvl4pPr>
            <a:lvl5pPr marL="1475551" marR="40650" indent="-160774" defTabSz="911055">
              <a:spcBef>
                <a:spcPts val="422"/>
              </a:spcBef>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290" name="Shape 290"/>
          <p:cNvSpPr>
            <a:spLocks noGrp="1"/>
          </p:cNvSpPr>
          <p:nvPr>
            <p:ph type="sldNum" sz="quarter" idx="2"/>
          </p:nvPr>
        </p:nvSpPr>
        <p:spPr>
          <a:xfrm>
            <a:off x="9860134" y="6252229"/>
            <a:ext cx="355867" cy="275717"/>
          </a:xfrm>
          <a:prstGeom prst="rect">
            <a:avLst/>
          </a:prstGeom>
        </p:spPr>
        <p:txBody>
          <a:bodyPr/>
          <a:lstStyle>
            <a:lvl1pPr defTabSz="455527">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921981314"/>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2_Default - Titel og indholdsobjekt">
    <p:spTree>
      <p:nvGrpSpPr>
        <p:cNvPr id="1" name=""/>
        <p:cNvGrpSpPr/>
        <p:nvPr/>
      </p:nvGrpSpPr>
      <p:grpSpPr>
        <a:xfrm>
          <a:off x="0" y="0"/>
          <a:ext cx="0" cy="0"/>
          <a:chOff x="0" y="0"/>
          <a:chExt cx="0" cy="0"/>
        </a:xfrm>
      </p:grpSpPr>
      <p:sp>
        <p:nvSpPr>
          <p:cNvPr id="297" name="Shape 297"/>
          <p:cNvSpPr>
            <a:spLocks noGrp="1"/>
          </p:cNvSpPr>
          <p:nvPr>
            <p:ph type="title"/>
          </p:nvPr>
        </p:nvSpPr>
        <p:spPr>
          <a:xfrm>
            <a:off x="916662" y="384066"/>
            <a:ext cx="10357089" cy="1598784"/>
          </a:xfrm>
          <a:prstGeom prst="rect">
            <a:avLst/>
          </a:prstGeom>
        </p:spPr>
        <p:txBody>
          <a:bodyPr>
            <a:noAutofit/>
          </a:bodyPr>
          <a:lstStyle>
            <a:lvl1pPr defTabSz="643098">
              <a:defRPr sz="4360">
                <a:uFill>
                  <a:solidFill>
                    <a:srgbClr val="000000"/>
                  </a:solidFill>
                </a:uFill>
                <a:latin typeface="Arial"/>
                <a:ea typeface="Arial"/>
                <a:cs typeface="Arial"/>
                <a:sym typeface="Arial"/>
              </a:defRPr>
            </a:lvl1pPr>
          </a:lstStyle>
          <a:p>
            <a:r>
              <a:t>Title Text</a:t>
            </a:r>
          </a:p>
        </p:txBody>
      </p:sp>
      <p:sp>
        <p:nvSpPr>
          <p:cNvPr id="298" name="Shape 298"/>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99" name="Shape 299"/>
          <p:cNvSpPr>
            <a:spLocks noGrp="1"/>
          </p:cNvSpPr>
          <p:nvPr>
            <p:ph type="sldNum" sz="quarter" idx="2"/>
          </p:nvPr>
        </p:nvSpPr>
        <p:spPr>
          <a:xfrm>
            <a:off x="9831667" y="6270092"/>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4996397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4_Title &amp; Bullets">
    <p:spTree>
      <p:nvGrpSpPr>
        <p:cNvPr id="1" name=""/>
        <p:cNvGrpSpPr/>
        <p:nvPr/>
      </p:nvGrpSpPr>
      <p:grpSpPr>
        <a:xfrm>
          <a:off x="0" y="0"/>
          <a:ext cx="0" cy="0"/>
          <a:chOff x="0" y="0"/>
          <a:chExt cx="0" cy="0"/>
        </a:xfrm>
      </p:grpSpPr>
      <p:sp>
        <p:nvSpPr>
          <p:cNvPr id="306" name="Shape 306"/>
          <p:cNvSpPr>
            <a:spLocks noGrp="1"/>
          </p:cNvSpPr>
          <p:nvPr>
            <p:ph type="title"/>
          </p:nvPr>
        </p:nvSpPr>
        <p:spPr>
          <a:xfrm>
            <a:off x="916662" y="384066"/>
            <a:ext cx="10357089" cy="1598784"/>
          </a:xfrm>
          <a:prstGeom prst="rect">
            <a:avLst/>
          </a:prstGeom>
        </p:spPr>
        <p:txBody>
          <a:bodyPr>
            <a:noAutofit/>
          </a:bodyPr>
          <a:lstStyle>
            <a:lvl1pPr marL="4466" marR="40650" defTabSz="643098">
              <a:defRPr sz="4360">
                <a:uFill>
                  <a:solidFill>
                    <a:srgbClr val="000000"/>
                  </a:solidFill>
                </a:uFill>
                <a:latin typeface="Times"/>
                <a:ea typeface="Times"/>
                <a:cs typeface="Times"/>
                <a:sym typeface="Times"/>
              </a:defRPr>
            </a:lvl1pPr>
          </a:lstStyle>
          <a:p>
            <a:r>
              <a:t>Title Text</a:t>
            </a:r>
          </a:p>
        </p:txBody>
      </p:sp>
      <p:sp>
        <p:nvSpPr>
          <p:cNvPr id="307" name="Shape 307"/>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514701" marR="40650"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96056" marR="40650"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117605"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39154"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9846675" y="6252229"/>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65262353"/>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name="5_Title &amp; Bullets">
    <p:spTree>
      <p:nvGrpSpPr>
        <p:cNvPr id="1" name=""/>
        <p:cNvGrpSpPr/>
        <p:nvPr/>
      </p:nvGrpSpPr>
      <p:grpSpPr>
        <a:xfrm>
          <a:off x="0" y="0"/>
          <a:ext cx="0" cy="0"/>
          <a:chOff x="0" y="0"/>
          <a:chExt cx="0" cy="0"/>
        </a:xfrm>
      </p:grpSpPr>
      <p:sp>
        <p:nvSpPr>
          <p:cNvPr id="315" name="Shape 315"/>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16" name="Shape 31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17" name="Shape 317"/>
          <p:cNvSpPr>
            <a:spLocks noGrp="1"/>
          </p:cNvSpPr>
          <p:nvPr>
            <p:ph type="sldNum" sz="quarter" idx="2"/>
          </p:nvPr>
        </p:nvSpPr>
        <p:spPr>
          <a:xfrm>
            <a:off x="9831435" y="6252229"/>
            <a:ext cx="391774" cy="297389"/>
          </a:xfrm>
          <a:prstGeom prst="rect">
            <a:avLst/>
          </a:prstGeom>
        </p:spPr>
        <p:txBody>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71586893"/>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Standarddesign">
    <p:spTree>
      <p:nvGrpSpPr>
        <p:cNvPr id="1" name=""/>
        <p:cNvGrpSpPr/>
        <p:nvPr/>
      </p:nvGrpSpPr>
      <p:grpSpPr>
        <a:xfrm>
          <a:off x="0" y="0"/>
          <a:ext cx="0" cy="0"/>
          <a:chOff x="0" y="0"/>
          <a:chExt cx="0" cy="0"/>
        </a:xfrm>
      </p:grpSpPr>
      <p:sp>
        <p:nvSpPr>
          <p:cNvPr id="324" name="Shape 324"/>
          <p:cNvSpPr>
            <a:spLocks noGrp="1"/>
          </p:cNvSpPr>
          <p:nvPr>
            <p:ph type="title"/>
          </p:nvPr>
        </p:nvSpPr>
        <p:spPr>
          <a:xfrm>
            <a:off x="607140" y="92097"/>
            <a:ext cx="10976134" cy="150847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325" name="Shape 325"/>
          <p:cNvSpPr>
            <a:spLocks noGrp="1"/>
          </p:cNvSpPr>
          <p:nvPr>
            <p:ph type="body" idx="1"/>
          </p:nvPr>
        </p:nvSpPr>
        <p:spPr>
          <a:xfrm>
            <a:off x="607140" y="1598784"/>
            <a:ext cx="10976134" cy="5260804"/>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26" name="Shape 326"/>
          <p:cNvSpPr>
            <a:spLocks noGrp="1"/>
          </p:cNvSpPr>
          <p:nvPr>
            <p:ph type="sldNum" sz="quarter" idx="2"/>
          </p:nvPr>
        </p:nvSpPr>
        <p:spPr>
          <a:xfrm>
            <a:off x="9985932"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422271195"/>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Default - Titel og indholdsobjekt copy 1">
    <p:spTree>
      <p:nvGrpSpPr>
        <p:cNvPr id="1" name=""/>
        <p:cNvGrpSpPr/>
        <p:nvPr/>
      </p:nvGrpSpPr>
      <p:grpSpPr>
        <a:xfrm>
          <a:off x="0" y="0"/>
          <a:ext cx="0" cy="0"/>
          <a:chOff x="0" y="0"/>
          <a:chExt cx="0" cy="0"/>
        </a:xfrm>
      </p:grpSpPr>
      <p:sp>
        <p:nvSpPr>
          <p:cNvPr id="333" name="Shape 333"/>
          <p:cNvSpPr>
            <a:spLocks noGrp="1"/>
          </p:cNvSpPr>
          <p:nvPr>
            <p:ph type="title"/>
          </p:nvPr>
        </p:nvSpPr>
        <p:spPr>
          <a:xfrm>
            <a:off x="916662" y="384066"/>
            <a:ext cx="10357089" cy="1598784"/>
          </a:xfrm>
          <a:prstGeom prst="rect">
            <a:avLst/>
          </a:prstGeom>
        </p:spPr>
        <p:txBody>
          <a:bodyPr/>
          <a:lstStyle>
            <a:lvl1pPr marL="4466" defTabSz="643098">
              <a:defRPr sz="4360">
                <a:uFill>
                  <a:solidFill>
                    <a:srgbClr val="000000"/>
                  </a:solidFill>
                </a:uFill>
                <a:latin typeface="Times"/>
                <a:ea typeface="Times"/>
                <a:cs typeface="Times"/>
                <a:sym typeface="Times"/>
              </a:defRPr>
            </a:lvl1pPr>
          </a:lstStyle>
          <a:p>
            <a:r>
              <a:t>Title Text</a:t>
            </a:r>
          </a:p>
        </p:txBody>
      </p:sp>
      <p:sp>
        <p:nvSpPr>
          <p:cNvPr id="334" name="Shape 334"/>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sz="2673">
                <a:uFill>
                  <a:solidFill>
                    <a:srgbClr val="000000"/>
                  </a:solidFill>
                </a:uFill>
                <a:latin typeface="Times"/>
                <a:ea typeface="Times"/>
                <a:cs typeface="Times"/>
                <a:sym typeface="Times"/>
              </a:defRPr>
            </a:lvl2pPr>
            <a:lvl3pPr marL="724601" indent="-160774" defTabSz="643098">
              <a:spcBef>
                <a:spcPts val="563"/>
              </a:spcBef>
              <a:buClr>
                <a:srgbClr val="000000"/>
              </a:buClr>
              <a:buSzPct val="100000"/>
              <a:defRPr sz="2391">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35" name="Shape 335"/>
          <p:cNvSpPr>
            <a:spLocks noGrp="1"/>
          </p:cNvSpPr>
          <p:nvPr>
            <p:ph type="sldNum" sz="quarter" idx="2"/>
          </p:nvPr>
        </p:nvSpPr>
        <p:spPr>
          <a:xfrm>
            <a:off x="9858581" y="6270092"/>
            <a:ext cx="297618" cy="259021"/>
          </a:xfrm>
          <a:prstGeom prst="rect">
            <a:avLst/>
          </a:prstGeom>
        </p:spPr>
        <p:txBody>
          <a:bodyPr lIns="38100" tIns="38100" rIns="38100" bIns="38100">
            <a:normAutofit/>
          </a:bodyPr>
          <a:lstStyle>
            <a:lvl1pPr defTabSz="643098">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2869265952"/>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Default - Titel og indholdsobjekt copy 4">
    <p:spTree>
      <p:nvGrpSpPr>
        <p:cNvPr id="1" name=""/>
        <p:cNvGrpSpPr/>
        <p:nvPr/>
      </p:nvGrpSpPr>
      <p:grpSpPr>
        <a:xfrm>
          <a:off x="0" y="0"/>
          <a:ext cx="0" cy="0"/>
          <a:chOff x="0" y="0"/>
          <a:chExt cx="0" cy="0"/>
        </a:xfrm>
      </p:grpSpPr>
      <p:sp>
        <p:nvSpPr>
          <p:cNvPr id="342" name="Shape 342"/>
          <p:cNvSpPr>
            <a:spLocks noGrp="1"/>
          </p:cNvSpPr>
          <p:nvPr>
            <p:ph type="title"/>
          </p:nvPr>
        </p:nvSpPr>
        <p:spPr>
          <a:xfrm>
            <a:off x="916662" y="0"/>
            <a:ext cx="10357089" cy="2366915"/>
          </a:xfrm>
          <a:prstGeom prst="rect">
            <a:avLst/>
          </a:prstGeom>
        </p:spPr>
        <p:txBody>
          <a:bodyPr/>
          <a:lstStyle>
            <a:lvl1pPr marL="4466" defTabSz="643098">
              <a:defRPr sz="4360">
                <a:uFill>
                  <a:solidFill>
                    <a:srgbClr val="000000"/>
                  </a:solidFill>
                </a:uFill>
                <a:latin typeface="Arial"/>
                <a:ea typeface="Arial"/>
                <a:cs typeface="Arial"/>
                <a:sym typeface="Arial"/>
              </a:defRPr>
            </a:lvl1pPr>
          </a:lstStyle>
          <a:p>
            <a:r>
              <a:t>Title Text</a:t>
            </a:r>
          </a:p>
        </p:txBody>
      </p:sp>
      <p:sp>
        <p:nvSpPr>
          <p:cNvPr id="343" name="Shape 343"/>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Arial"/>
                <a:ea typeface="Arial"/>
                <a:cs typeface="Arial"/>
                <a:sym typeface="Arial"/>
              </a:defRPr>
            </a:lvl1pPr>
            <a:lvl2pPr marL="443246" indent="-200967" defTabSz="643098">
              <a:spcBef>
                <a:spcPts val="633"/>
              </a:spcBef>
              <a:buClr>
                <a:srgbClr val="000000"/>
              </a:buClr>
              <a:buSzPct val="100000"/>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44" name="Shape 344"/>
          <p:cNvSpPr>
            <a:spLocks noGrp="1"/>
          </p:cNvSpPr>
          <p:nvPr>
            <p:ph type="sldNum" sz="quarter" idx="2"/>
          </p:nvPr>
        </p:nvSpPr>
        <p:spPr>
          <a:xfrm>
            <a:off x="9843571" y="6270092"/>
            <a:ext cx="321684" cy="235898"/>
          </a:xfrm>
          <a:prstGeom prst="rect">
            <a:avLst/>
          </a:prstGeom>
        </p:spPr>
        <p:txBody>
          <a:bodyPr lIns="38100" tIns="38100" rIns="38100" bIns="38100">
            <a:normAutofit/>
          </a:bodyPr>
          <a:lstStyle>
            <a:lvl1pPr defTabSz="643098">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52131361"/>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1_Default - Titel og indholdsobjekt">
    <p:spTree>
      <p:nvGrpSpPr>
        <p:cNvPr id="1" name=""/>
        <p:cNvGrpSpPr/>
        <p:nvPr/>
      </p:nvGrpSpPr>
      <p:grpSpPr>
        <a:xfrm>
          <a:off x="0" y="0"/>
          <a:ext cx="0" cy="0"/>
          <a:chOff x="0" y="0"/>
          <a:chExt cx="0" cy="0"/>
        </a:xfrm>
      </p:grpSpPr>
      <p:sp>
        <p:nvSpPr>
          <p:cNvPr id="351" name="Shape 351"/>
          <p:cNvSpPr>
            <a:spLocks noGrp="1"/>
          </p:cNvSpPr>
          <p:nvPr>
            <p:ph type="title"/>
          </p:nvPr>
        </p:nvSpPr>
        <p:spPr>
          <a:xfrm>
            <a:off x="916662" y="384066"/>
            <a:ext cx="10357089" cy="1598784"/>
          </a:xfrm>
          <a:prstGeom prst="rect">
            <a:avLst/>
          </a:prstGeom>
        </p:spPr>
        <p:txBody>
          <a:bodyPr/>
          <a:lstStyle>
            <a:lvl1pPr marL="4466" indent="-4466" defTabSz="643098">
              <a:defRPr sz="4360">
                <a:uFill>
                  <a:solidFill>
                    <a:srgbClr val="000000"/>
                  </a:solidFill>
                </a:uFill>
                <a:latin typeface="Arial"/>
                <a:ea typeface="Arial"/>
                <a:cs typeface="Arial"/>
                <a:sym typeface="Arial"/>
              </a:defRPr>
            </a:lvl1pPr>
          </a:lstStyle>
          <a:p>
            <a:r>
              <a:t>Title Text</a:t>
            </a:r>
          </a:p>
        </p:txBody>
      </p:sp>
      <p:sp>
        <p:nvSpPr>
          <p:cNvPr id="352" name="Shape 352"/>
          <p:cNvSpPr>
            <a:spLocks noGrp="1"/>
          </p:cNvSpPr>
          <p:nvPr>
            <p:ph type="body" idx="1"/>
          </p:nvPr>
        </p:nvSpPr>
        <p:spPr>
          <a:xfrm>
            <a:off x="916662" y="1982850"/>
            <a:ext cx="10357089" cy="4876738"/>
          </a:xfrm>
          <a:prstGeom prst="rect">
            <a:avLst/>
          </a:prstGeom>
        </p:spPr>
        <p:txBody>
          <a:bodyPr anchor="t"/>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78973"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81877"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53" name="Shape 353"/>
          <p:cNvSpPr>
            <a:spLocks noGrp="1"/>
          </p:cNvSpPr>
          <p:nvPr>
            <p:ph type="sldNum" sz="quarter" idx="2"/>
          </p:nvPr>
        </p:nvSpPr>
        <p:spPr>
          <a:xfrm>
            <a:off x="9832410" y="6270092"/>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10207804"/>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6_Title &amp; Bullets">
    <p:spTree>
      <p:nvGrpSpPr>
        <p:cNvPr id="1" name=""/>
        <p:cNvGrpSpPr/>
        <p:nvPr/>
      </p:nvGrpSpPr>
      <p:grpSpPr>
        <a:xfrm>
          <a:off x="0" y="0"/>
          <a:ext cx="0" cy="0"/>
          <a:chOff x="0" y="0"/>
          <a:chExt cx="0" cy="0"/>
        </a:xfrm>
      </p:grpSpPr>
      <p:sp>
        <p:nvSpPr>
          <p:cNvPr id="360" name="Shape 360"/>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61" name="Shape 361"/>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2" name="Shape 362"/>
          <p:cNvSpPr>
            <a:spLocks noGrp="1"/>
          </p:cNvSpPr>
          <p:nvPr>
            <p:ph type="sldNum" sz="quarter" idx="2"/>
          </p:nvPr>
        </p:nvSpPr>
        <p:spPr>
          <a:xfrm>
            <a:off x="9832493" y="6252229"/>
            <a:ext cx="345493" cy="253762"/>
          </a:xfrm>
          <a:prstGeom prst="rect">
            <a:avLst/>
          </a:prstGeom>
        </p:spPr>
        <p:txBody>
          <a:bodyPr>
            <a:normAutofit/>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0584106"/>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7_Title &amp; Bullets">
    <p:spTree>
      <p:nvGrpSpPr>
        <p:cNvPr id="1" name=""/>
        <p:cNvGrpSpPr/>
        <p:nvPr/>
      </p:nvGrpSpPr>
      <p:grpSpPr>
        <a:xfrm>
          <a:off x="0" y="0"/>
          <a:ext cx="0" cy="0"/>
          <a:chOff x="0" y="0"/>
          <a:chExt cx="0" cy="0"/>
        </a:xfrm>
      </p:grpSpPr>
      <p:sp>
        <p:nvSpPr>
          <p:cNvPr id="369" name="Shape 369"/>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70" name="Shape 370"/>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71" name="Shape 371"/>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71025641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name="3_Title &amp; Bullets copy">
    <p:spTree>
      <p:nvGrpSpPr>
        <p:cNvPr id="1" name=""/>
        <p:cNvGrpSpPr/>
        <p:nvPr/>
      </p:nvGrpSpPr>
      <p:grpSpPr>
        <a:xfrm>
          <a:off x="0" y="0"/>
          <a:ext cx="0" cy="0"/>
          <a:chOff x="0" y="0"/>
          <a:chExt cx="0" cy="0"/>
        </a:xfrm>
      </p:grpSpPr>
      <p:sp>
        <p:nvSpPr>
          <p:cNvPr id="378" name="Shape 378"/>
          <p:cNvSpPr>
            <a:spLocks noGrp="1"/>
          </p:cNvSpPr>
          <p:nvPr>
            <p:ph type="title"/>
          </p:nvPr>
        </p:nvSpPr>
        <p:spPr>
          <a:xfrm>
            <a:off x="916662" y="384066"/>
            <a:ext cx="10357089" cy="1598784"/>
          </a:xfrm>
          <a:prstGeom prst="rect">
            <a:avLst/>
          </a:prstGeom>
        </p:spPr>
        <p:txBody>
          <a:bodyPr>
            <a:noAutofit/>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379" name="Shape 379"/>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0" name="Shape 380"/>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920184182"/>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2_Title &amp; Bullets copy 2">
    <p:spTree>
      <p:nvGrpSpPr>
        <p:cNvPr id="1" name=""/>
        <p:cNvGrpSpPr/>
        <p:nvPr/>
      </p:nvGrpSpPr>
      <p:grpSpPr>
        <a:xfrm>
          <a:off x="0" y="0"/>
          <a:ext cx="0" cy="0"/>
          <a:chOff x="0" y="0"/>
          <a:chExt cx="0" cy="0"/>
        </a:xfrm>
      </p:grpSpPr>
      <p:sp>
        <p:nvSpPr>
          <p:cNvPr id="387" name="Shape 387"/>
          <p:cNvSpPr>
            <a:spLocks noGrp="1"/>
          </p:cNvSpPr>
          <p:nvPr>
            <p:ph type="title"/>
          </p:nvPr>
        </p:nvSpPr>
        <p:spPr>
          <a:xfrm>
            <a:off x="916662" y="0"/>
            <a:ext cx="10357089" cy="2366915"/>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88" name="Shape 38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9" name="Shape 38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59558419"/>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Office Theme copy 1">
    <p:spTree>
      <p:nvGrpSpPr>
        <p:cNvPr id="1" name=""/>
        <p:cNvGrpSpPr/>
        <p:nvPr/>
      </p:nvGrpSpPr>
      <p:grpSpPr>
        <a:xfrm>
          <a:off x="0" y="0"/>
          <a:ext cx="0" cy="0"/>
          <a:chOff x="0" y="0"/>
          <a:chExt cx="0" cy="0"/>
        </a:xfrm>
      </p:grpSpPr>
      <p:sp>
        <p:nvSpPr>
          <p:cNvPr id="396" name="Shape 396"/>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397" name="Shape 397"/>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8" name="Shape 398"/>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040374429"/>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405" name="Shape 405"/>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06" name="Shape 406"/>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07" name="Shape 40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728692540"/>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1_Default">
    <p:spTree>
      <p:nvGrpSpPr>
        <p:cNvPr id="1" name=""/>
        <p:cNvGrpSpPr/>
        <p:nvPr/>
      </p:nvGrpSpPr>
      <p:grpSpPr>
        <a:xfrm>
          <a:off x="0" y="0"/>
          <a:ext cx="0" cy="0"/>
          <a:chOff x="0" y="0"/>
          <a:chExt cx="0" cy="0"/>
        </a:xfrm>
      </p:grpSpPr>
      <p:sp>
        <p:nvSpPr>
          <p:cNvPr id="414" name="Shape 414"/>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15" name="Shape 415"/>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16" name="Shape 416"/>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131141016"/>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type="tx">
  <p:cSld name="8_Title &amp; Bullets">
    <p:spTree>
      <p:nvGrpSpPr>
        <p:cNvPr id="1" name=""/>
        <p:cNvGrpSpPr/>
        <p:nvPr/>
      </p:nvGrpSpPr>
      <p:grpSpPr>
        <a:xfrm>
          <a:off x="0" y="0"/>
          <a:ext cx="0" cy="0"/>
          <a:chOff x="0" y="0"/>
          <a:chExt cx="0" cy="0"/>
        </a:xfrm>
      </p:grpSpPr>
      <p:sp>
        <p:nvSpPr>
          <p:cNvPr id="423" name="Shape 423"/>
          <p:cNvSpPr>
            <a:spLocks noGrp="1"/>
          </p:cNvSpPr>
          <p:nvPr>
            <p:ph type="title"/>
          </p:nvPr>
        </p:nvSpPr>
        <p:spPr>
          <a:xfrm>
            <a:off x="916662" y="384066"/>
            <a:ext cx="10357089" cy="1598784"/>
          </a:xfrm>
          <a:prstGeom prst="rect">
            <a:avLst/>
          </a:prstGeom>
        </p:spPr>
        <p:txBody>
          <a:bodyPr/>
          <a:lstStyle>
            <a:lvl1pPr marL="4466" marR="40650" indent="-4466" defTabSz="652029">
              <a:defRPr sz="4079">
                <a:uFill>
                  <a:solidFill>
                    <a:srgbClr val="000000"/>
                  </a:solidFill>
                </a:uFill>
                <a:latin typeface="Arial"/>
                <a:ea typeface="Arial"/>
                <a:cs typeface="Arial"/>
                <a:sym typeface="Arial"/>
              </a:defRPr>
            </a:lvl1pPr>
          </a:lstStyle>
          <a:p>
            <a:r>
              <a:t>Title Text</a:t>
            </a:r>
          </a:p>
        </p:txBody>
      </p:sp>
      <p:sp>
        <p:nvSpPr>
          <p:cNvPr id="424" name="Shape 424"/>
          <p:cNvSpPr>
            <a:spLocks noGrp="1"/>
          </p:cNvSpPr>
          <p:nvPr>
            <p:ph type="body" idx="1"/>
          </p:nvPr>
        </p:nvSpPr>
        <p:spPr>
          <a:xfrm>
            <a:off x="916662" y="1982850"/>
            <a:ext cx="10357089" cy="4876738"/>
          </a:xfrm>
          <a:prstGeom prst="rect">
            <a:avLst/>
          </a:prstGeom>
        </p:spPr>
        <p:txBody>
          <a:bodyPr anchor="t"/>
          <a:lstStyle>
            <a:lvl1pPr marL="269073" marR="40650" indent="-241162" defTabSz="652029">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14701" marR="40650" indent="-200968" defTabSz="652029">
              <a:spcBef>
                <a:spcPts val="633"/>
              </a:spcBef>
              <a:buClr>
                <a:srgbClr val="000000"/>
              </a:buClr>
              <a:buSzPct val="100000"/>
              <a:buFont typeface="Arial"/>
              <a:buChar char="–"/>
              <a:defRPr>
                <a:uFill>
                  <a:solidFill>
                    <a:srgbClr val="000000"/>
                  </a:solidFill>
                </a:uFill>
                <a:latin typeface="Arial"/>
                <a:ea typeface="Arial"/>
                <a:cs typeface="Arial"/>
                <a:sym typeface="Arial"/>
              </a:defRPr>
            </a:lvl2pPr>
            <a:lvl3pPr marL="796056" marR="40650" indent="-160774" defTabSz="652029">
              <a:spcBef>
                <a:spcPts val="633"/>
              </a:spcBef>
              <a:buClr>
                <a:srgbClr val="000000"/>
              </a:buClr>
              <a:buSzPct val="100000"/>
              <a:buFont typeface="Arial"/>
              <a:defRPr sz="2110">
                <a:uFill>
                  <a:solidFill>
                    <a:srgbClr val="000000"/>
                  </a:solidFill>
                </a:uFill>
                <a:latin typeface="Arial"/>
                <a:ea typeface="Arial"/>
                <a:cs typeface="Arial"/>
                <a:sym typeface="Arial"/>
              </a:defRPr>
            </a:lvl3pPr>
            <a:lvl4pPr marL="1117605"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39154"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5" name="Shape 425"/>
          <p:cNvSpPr>
            <a:spLocks noGrp="1"/>
          </p:cNvSpPr>
          <p:nvPr>
            <p:ph type="sldNum" sz="quarter" idx="2"/>
          </p:nvPr>
        </p:nvSpPr>
        <p:spPr>
          <a:xfrm>
            <a:off x="9846396" y="6252229"/>
            <a:ext cx="319010" cy="227551"/>
          </a:xfrm>
          <a:prstGeom prst="rect">
            <a:avLst/>
          </a:prstGeom>
        </p:spPr>
        <p:txBody>
          <a:bodyPr>
            <a:normAutofit/>
          </a:bodyPr>
          <a:lstStyle>
            <a:lvl1pPr>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09968153"/>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2_Default">
    <p:spTree>
      <p:nvGrpSpPr>
        <p:cNvPr id="1" name=""/>
        <p:cNvGrpSpPr/>
        <p:nvPr/>
      </p:nvGrpSpPr>
      <p:grpSpPr>
        <a:xfrm>
          <a:off x="0" y="0"/>
          <a:ext cx="0" cy="0"/>
          <a:chOff x="0" y="0"/>
          <a:chExt cx="0" cy="0"/>
        </a:xfrm>
      </p:grpSpPr>
      <p:sp>
        <p:nvSpPr>
          <p:cNvPr id="432" name="Shape 432"/>
          <p:cNvSpPr>
            <a:spLocks noGrp="1"/>
          </p:cNvSpPr>
          <p:nvPr>
            <p:ph type="sldNum" sz="quarter" idx="2"/>
          </p:nvPr>
        </p:nvSpPr>
        <p:spPr>
          <a:xfrm>
            <a:off x="9835684"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33" name="Shape 433"/>
          <p:cNvSpPr>
            <a:spLocks noGrp="1"/>
          </p:cNvSpPr>
          <p:nvPr>
            <p:ph type="title"/>
          </p:nvPr>
        </p:nvSpPr>
        <p:spPr>
          <a:xfrm>
            <a:off x="916662" y="384066"/>
            <a:ext cx="10357089" cy="1598784"/>
          </a:xfrm>
          <a:prstGeom prst="rect">
            <a:avLst/>
          </a:prstGeom>
        </p:spPr>
        <p:txBody>
          <a:bodyPr>
            <a:noAutofit/>
          </a:bodyPr>
          <a:lstStyle>
            <a:lvl1pPr defTabSz="643098">
              <a:defRPr sz="4360">
                <a:latin typeface="Arial"/>
                <a:ea typeface="Arial"/>
                <a:cs typeface="Arial"/>
                <a:sym typeface="Arial"/>
              </a:defRPr>
            </a:lvl1pPr>
          </a:lstStyle>
          <a:p>
            <a:r>
              <a:t>Title Text</a:t>
            </a:r>
          </a:p>
        </p:txBody>
      </p:sp>
      <p:sp>
        <p:nvSpPr>
          <p:cNvPr id="434" name="Shape 434"/>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buChar char="»"/>
              <a:defRPr sz="3095">
                <a:latin typeface="Arial"/>
                <a:ea typeface="Arial"/>
                <a:cs typeface="Arial"/>
                <a:sym typeface="Arial"/>
              </a:defRPr>
            </a:lvl1pPr>
            <a:lvl2pPr marL="439250" indent="-232699" defTabSz="643098">
              <a:spcBef>
                <a:spcPts val="774"/>
              </a:spcBef>
              <a:buClr>
                <a:srgbClr val="000000"/>
              </a:buClr>
              <a:buSzPct val="100000"/>
              <a:buFont typeface="Arial"/>
              <a:buChar char="–"/>
              <a:defRPr sz="3095">
                <a:latin typeface="Arial"/>
                <a:ea typeface="Arial"/>
                <a:cs typeface="Arial"/>
                <a:sym typeface="Arial"/>
              </a:defRPr>
            </a:lvl2pPr>
            <a:lvl3pPr marL="736160" indent="-208061" defTabSz="643098">
              <a:spcBef>
                <a:spcPts val="774"/>
              </a:spcBef>
              <a:buClr>
                <a:srgbClr val="000000"/>
              </a:buClr>
              <a:buSzPct val="100000"/>
              <a:buFont typeface="Arial"/>
              <a:defRPr sz="3095">
                <a:latin typeface="Arial"/>
                <a:ea typeface="Arial"/>
                <a:cs typeface="Arial"/>
                <a:sym typeface="Arial"/>
              </a:defRPr>
            </a:lvl3pPr>
            <a:lvl4pPr marL="1102293" indent="-252645" defTabSz="643098">
              <a:spcBef>
                <a:spcPts val="774"/>
              </a:spcBef>
              <a:buClr>
                <a:srgbClr val="000000"/>
              </a:buClr>
              <a:buSzPct val="100000"/>
              <a:buFont typeface="Arial"/>
              <a:buChar char="–"/>
              <a:defRPr sz="3095">
                <a:latin typeface="Arial"/>
                <a:ea typeface="Arial"/>
                <a:cs typeface="Arial"/>
                <a:sym typeface="Arial"/>
              </a:defRPr>
            </a:lvl4pPr>
            <a:lvl5pPr marL="1423841" indent="-252645" defTabSz="643098">
              <a:spcBef>
                <a:spcPts val="774"/>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83690513"/>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1_Standarddesign">
    <p:spTree>
      <p:nvGrpSpPr>
        <p:cNvPr id="1" name=""/>
        <p:cNvGrpSpPr/>
        <p:nvPr/>
      </p:nvGrpSpPr>
      <p:grpSpPr>
        <a:xfrm>
          <a:off x="0" y="0"/>
          <a:ext cx="0" cy="0"/>
          <a:chOff x="0" y="0"/>
          <a:chExt cx="0" cy="0"/>
        </a:xfrm>
      </p:grpSpPr>
      <p:sp>
        <p:nvSpPr>
          <p:cNvPr id="441" name="Shape 441"/>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42" name="Shape 442"/>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3" name="Shape 443"/>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827846203"/>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1_Office Theme copy 1">
    <p:spTree>
      <p:nvGrpSpPr>
        <p:cNvPr id="1" name=""/>
        <p:cNvGrpSpPr/>
        <p:nvPr/>
      </p:nvGrpSpPr>
      <p:grpSpPr>
        <a:xfrm>
          <a:off x="0" y="0"/>
          <a:ext cx="0" cy="0"/>
          <a:chOff x="0" y="0"/>
          <a:chExt cx="0" cy="0"/>
        </a:xfrm>
      </p:grpSpPr>
      <p:sp>
        <p:nvSpPr>
          <p:cNvPr id="450" name="Shape 450"/>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451" name="Shape 451"/>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52" name="Shape 452"/>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59724704"/>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1_Default - Title and Content copy">
    <p:spTree>
      <p:nvGrpSpPr>
        <p:cNvPr id="1" name=""/>
        <p:cNvGrpSpPr/>
        <p:nvPr/>
      </p:nvGrpSpPr>
      <p:grpSpPr>
        <a:xfrm>
          <a:off x="0" y="0"/>
          <a:ext cx="0" cy="0"/>
          <a:chOff x="0" y="0"/>
          <a:chExt cx="0" cy="0"/>
        </a:xfrm>
      </p:grpSpPr>
      <p:sp>
        <p:nvSpPr>
          <p:cNvPr id="459" name="Shape 459"/>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460" name="Shape 460"/>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380722"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61" name="Shape 461"/>
          <p:cNvSpPr>
            <a:spLocks noGrp="1"/>
          </p:cNvSpPr>
          <p:nvPr>
            <p:ph type="sldNum" sz="quarter" idx="2"/>
          </p:nvPr>
        </p:nvSpPr>
        <p:spPr>
          <a:xfrm>
            <a:off x="9601724"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086843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x">
  <p:cSld name="Default - Title Slide copy 1">
    <p:spTree>
      <p:nvGrpSpPr>
        <p:cNvPr id="1" name=""/>
        <p:cNvGrpSpPr/>
        <p:nvPr/>
      </p:nvGrpSpPr>
      <p:grpSpPr>
        <a:xfrm>
          <a:off x="0" y="0"/>
          <a:ext cx="0" cy="0"/>
          <a:chOff x="0" y="0"/>
          <a:chExt cx="0" cy="0"/>
        </a:xfrm>
      </p:grpSpPr>
      <p:sp>
        <p:nvSpPr>
          <p:cNvPr id="468" name="Shape 468"/>
          <p:cNvSpPr>
            <a:spLocks noGrp="1"/>
          </p:cNvSpPr>
          <p:nvPr>
            <p:ph type="title"/>
          </p:nvPr>
        </p:nvSpPr>
        <p:spPr>
          <a:xfrm>
            <a:off x="1318446" y="0"/>
            <a:ext cx="8156208" cy="1975035"/>
          </a:xfrm>
          <a:prstGeom prst="rect">
            <a:avLst/>
          </a:prstGeom>
        </p:spPr>
        <p:txBody>
          <a:bodyPr lIns="38100" tIns="38100" rIns="38100" bIns="38100" anchor="b">
            <a:noAutofit/>
          </a:bodyPr>
          <a:lstStyle>
            <a:lvl1pPr algn="l" defTabSz="643098">
              <a:defRPr sz="3938">
                <a:solidFill>
                  <a:srgbClr val="006021"/>
                </a:solidFill>
                <a:uFill>
                  <a:solidFill>
                    <a:srgbClr val="006021"/>
                  </a:solidFill>
                </a:uFill>
                <a:latin typeface="Calibri"/>
                <a:ea typeface="Calibri"/>
                <a:cs typeface="Calibri"/>
                <a:sym typeface="Calibri"/>
              </a:defRPr>
            </a:lvl1pPr>
          </a:lstStyle>
          <a:p>
            <a:r>
              <a:t>Title Text</a:t>
            </a:r>
          </a:p>
        </p:txBody>
      </p:sp>
      <p:sp>
        <p:nvSpPr>
          <p:cNvPr id="469" name="Shape 469"/>
          <p:cNvSpPr>
            <a:spLocks noGrp="1"/>
          </p:cNvSpPr>
          <p:nvPr>
            <p:ph type="body" idx="1"/>
          </p:nvPr>
        </p:nvSpPr>
        <p:spPr>
          <a:xfrm>
            <a:off x="1318446" y="2363566"/>
            <a:ext cx="9699354" cy="4496023"/>
          </a:xfrm>
          <a:prstGeom prst="rect">
            <a:avLst/>
          </a:prstGeom>
        </p:spPr>
        <p:txBody>
          <a:bodyPr lIns="38100" tIns="38100" rIns="38100" bIns="38100" anchor="t">
            <a:noAutofit/>
          </a:bodyPr>
          <a:lstStyle>
            <a:lvl1pPr marL="0" indent="0" defTabSz="643098">
              <a:spcBef>
                <a:spcPts val="0"/>
              </a:spcBef>
              <a:buSzTx/>
              <a:buNone/>
              <a:defRPr sz="2391">
                <a:uFill>
                  <a:solidFill>
                    <a:srgbClr val="000000"/>
                  </a:solidFill>
                </a:uFill>
                <a:latin typeface="Calibri"/>
                <a:ea typeface="Calibri"/>
                <a:cs typeface="Calibri"/>
                <a:sym typeface="Calibri"/>
              </a:defRPr>
            </a:lvl1pPr>
            <a:lvl2pPr marL="380722"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70" name="Shape 470"/>
          <p:cNvSpPr>
            <a:spLocks noGrp="1"/>
          </p:cNvSpPr>
          <p:nvPr>
            <p:ph type="sldNum" sz="quarter" idx="2"/>
          </p:nvPr>
        </p:nvSpPr>
        <p:spPr>
          <a:xfrm>
            <a:off x="5696399" y="6529113"/>
            <a:ext cx="1033937" cy="730328"/>
          </a:xfrm>
          <a:prstGeom prst="rect">
            <a:avLst/>
          </a:prstGeom>
        </p:spPr>
        <p:txBody>
          <a:bodyPr/>
          <a:lstStyle>
            <a:lvl1pPr>
              <a:defRPr sz="4079">
                <a:uFill>
                  <a:solidFill>
                    <a:srgbClr val="000000"/>
                  </a:solidFill>
                </a:uFill>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1238971983"/>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2_Standarddesign">
    <p:spTree>
      <p:nvGrpSpPr>
        <p:cNvPr id="1" name=""/>
        <p:cNvGrpSpPr/>
        <p:nvPr/>
      </p:nvGrpSpPr>
      <p:grpSpPr>
        <a:xfrm>
          <a:off x="0" y="0"/>
          <a:ext cx="0" cy="0"/>
          <a:chOff x="0" y="0"/>
          <a:chExt cx="0" cy="0"/>
        </a:xfrm>
      </p:grpSpPr>
      <p:sp>
        <p:nvSpPr>
          <p:cNvPr id="477" name="Shape 477"/>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78" name="Shape 478"/>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79" name="Shape 479"/>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94975662"/>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4_Default - Titel og indholdsobjekt">
    <p:spTree>
      <p:nvGrpSpPr>
        <p:cNvPr id="1" name=""/>
        <p:cNvGrpSpPr/>
        <p:nvPr/>
      </p:nvGrpSpPr>
      <p:grpSpPr>
        <a:xfrm>
          <a:off x="0" y="0"/>
          <a:ext cx="0" cy="0"/>
          <a:chOff x="0" y="0"/>
          <a:chExt cx="0" cy="0"/>
        </a:xfrm>
      </p:grpSpPr>
      <p:sp>
        <p:nvSpPr>
          <p:cNvPr id="486" name="Shape 486"/>
          <p:cNvSpPr>
            <a:spLocks noGrp="1"/>
          </p:cNvSpPr>
          <p:nvPr>
            <p:ph type="title"/>
          </p:nvPr>
        </p:nvSpPr>
        <p:spPr>
          <a:xfrm>
            <a:off x="916662" y="0"/>
            <a:ext cx="10357089" cy="2366915"/>
          </a:xfrm>
          <a:prstGeom prst="rect">
            <a:avLst/>
          </a:prstGeom>
        </p:spPr>
        <p:txBody>
          <a:bodyPr>
            <a:noAutofit/>
          </a:bodyPr>
          <a:lstStyle>
            <a:lvl1pPr marL="4466" indent="-4466" defTabSz="643098">
              <a:defRPr sz="4360">
                <a:uFill>
                  <a:solidFill>
                    <a:srgbClr val="000000"/>
                  </a:solidFill>
                </a:uFill>
                <a:latin typeface="Times"/>
                <a:ea typeface="Times"/>
                <a:cs typeface="Times"/>
                <a:sym typeface="Times"/>
              </a:defRPr>
            </a:lvl1pPr>
          </a:lstStyle>
          <a:p>
            <a:r>
              <a:t>Title Text</a:t>
            </a:r>
          </a:p>
        </p:txBody>
      </p:sp>
      <p:sp>
        <p:nvSpPr>
          <p:cNvPr id="487" name="Shape 48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478973"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60328"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081877"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03426"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488" name="Shape 488"/>
          <p:cNvSpPr>
            <a:spLocks noGrp="1"/>
          </p:cNvSpPr>
          <p:nvPr>
            <p:ph type="sldNum" sz="quarter" idx="2"/>
          </p:nvPr>
        </p:nvSpPr>
        <p:spPr>
          <a:xfrm>
            <a:off x="9846675" y="6270092"/>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547025524"/>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4_Title &amp; Bullets copy">
    <p:spTree>
      <p:nvGrpSpPr>
        <p:cNvPr id="1" name=""/>
        <p:cNvGrpSpPr/>
        <p:nvPr/>
      </p:nvGrpSpPr>
      <p:grpSpPr>
        <a:xfrm>
          <a:off x="0" y="0"/>
          <a:ext cx="0" cy="0"/>
          <a:chOff x="0" y="0"/>
          <a:chExt cx="0" cy="0"/>
        </a:xfrm>
      </p:grpSpPr>
      <p:sp>
        <p:nvSpPr>
          <p:cNvPr id="495" name="Shape 495"/>
          <p:cNvSpPr>
            <a:spLocks noGrp="1"/>
          </p:cNvSpPr>
          <p:nvPr>
            <p:ph type="title"/>
          </p:nvPr>
        </p:nvSpPr>
        <p:spPr>
          <a:xfrm>
            <a:off x="916662" y="384066"/>
            <a:ext cx="10357089" cy="1598784"/>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96" name="Shape 49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97" name="Shape 497"/>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588398106"/>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5_Title &amp; Bullets copy">
    <p:spTree>
      <p:nvGrpSpPr>
        <p:cNvPr id="1" name=""/>
        <p:cNvGrpSpPr/>
        <p:nvPr/>
      </p:nvGrpSpPr>
      <p:grpSpPr>
        <a:xfrm>
          <a:off x="0" y="0"/>
          <a:ext cx="0" cy="0"/>
          <a:chOff x="0" y="0"/>
          <a:chExt cx="0" cy="0"/>
        </a:xfrm>
      </p:grpSpPr>
      <p:sp>
        <p:nvSpPr>
          <p:cNvPr id="504" name="Shape 504"/>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venir Next"/>
                <a:ea typeface="Avenir Next"/>
                <a:cs typeface="Avenir Next"/>
                <a:sym typeface="Avenir Next"/>
              </a:defRPr>
            </a:lvl1pPr>
          </a:lstStyle>
          <a:p>
            <a:r>
              <a:t>Title Text</a:t>
            </a:r>
          </a:p>
        </p:txBody>
      </p:sp>
      <p:sp>
        <p:nvSpPr>
          <p:cNvPr id="505" name="Shape 505"/>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venir Next"/>
                <a:ea typeface="Avenir Next"/>
                <a:cs typeface="Avenir Next"/>
                <a:sym typeface="Avenir Next"/>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venir Next"/>
                <a:ea typeface="Avenir Next"/>
                <a:cs typeface="Avenir Next"/>
                <a:sym typeface="Avenir Next"/>
              </a:defRPr>
            </a:lvl2pPr>
            <a:lvl3pPr marL="796056" marR="40650" indent="-160774" defTabSz="643098">
              <a:spcBef>
                <a:spcPts val="563"/>
              </a:spcBef>
              <a:buClr>
                <a:srgbClr val="000000"/>
              </a:buClr>
              <a:buSzPct val="100000"/>
              <a:buFont typeface="Arial"/>
              <a:defRPr sz="2391">
                <a:uFill>
                  <a:solidFill>
                    <a:srgbClr val="000000"/>
                  </a:solidFill>
                </a:uFill>
                <a:latin typeface="Avenir Next"/>
                <a:ea typeface="Avenir Next"/>
                <a:cs typeface="Avenir Next"/>
                <a:sym typeface="Avenir Next"/>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506" name="Shape 506"/>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38257317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3_Title &amp; Bullets copy 2">
    <p:spTree>
      <p:nvGrpSpPr>
        <p:cNvPr id="1" name=""/>
        <p:cNvGrpSpPr/>
        <p:nvPr/>
      </p:nvGrpSpPr>
      <p:grpSpPr>
        <a:xfrm>
          <a:off x="0" y="0"/>
          <a:ext cx="0" cy="0"/>
          <a:chOff x="0" y="0"/>
          <a:chExt cx="0" cy="0"/>
        </a:xfrm>
      </p:grpSpPr>
      <p:sp>
        <p:nvSpPr>
          <p:cNvPr id="513" name="Shape 51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514" name="Shape 51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15" name="Shape 51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39983554"/>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3_Default - Title and Content copy 1">
    <p:spTree>
      <p:nvGrpSpPr>
        <p:cNvPr id="1" name=""/>
        <p:cNvGrpSpPr/>
        <p:nvPr/>
      </p:nvGrpSpPr>
      <p:grpSpPr>
        <a:xfrm>
          <a:off x="0" y="0"/>
          <a:ext cx="0" cy="0"/>
          <a:chOff x="0" y="0"/>
          <a:chExt cx="0" cy="0"/>
        </a:xfrm>
      </p:grpSpPr>
      <p:sp>
        <p:nvSpPr>
          <p:cNvPr id="522" name="Shape 52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110"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23" name="Shape 523"/>
          <p:cNvSpPr>
            <a:spLocks noGrp="1"/>
          </p:cNvSpPr>
          <p:nvPr>
            <p:ph type="body" idx="1"/>
          </p:nvPr>
        </p:nvSpPr>
        <p:spPr>
          <a:xfrm>
            <a:off x="359787" y="963835"/>
            <a:ext cx="11345975" cy="5895754"/>
          </a:xfrm>
          <a:prstGeom prst="rect">
            <a:avLst/>
          </a:prstGeom>
        </p:spPr>
        <p:txBody>
          <a:bodyPr lIns="54186" tIns="54186" rIns="54186" bIns="54186" anchor="t">
            <a:noAutofit/>
          </a:bodyPr>
          <a:lstStyle>
            <a:lvl1pPr marL="277866" indent="-277866"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1pPr>
            <a:lvl2pPr marL="512607"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2pPr>
            <a:lvl3pPr marL="782937"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3pPr>
            <a:lvl4pPr marL="1047545"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4pPr>
            <a:lvl5pPr marL="1315363"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24" name="Shape 524"/>
          <p:cNvSpPr>
            <a:spLocks noGrp="1"/>
          </p:cNvSpPr>
          <p:nvPr>
            <p:ph type="sldNum" sz="quarter" idx="2"/>
          </p:nvPr>
        </p:nvSpPr>
        <p:spPr>
          <a:xfrm>
            <a:off x="9596843" y="6527724"/>
            <a:ext cx="293383" cy="243306"/>
          </a:xfrm>
          <a:prstGeom prst="rect">
            <a:avLst/>
          </a:prstGeom>
        </p:spPr>
        <p:txBody>
          <a:bodyPr lIns="72248" tIns="72248" rIns="72248" bIns="72248"/>
          <a:lstStyle>
            <a:lvl1pPr defTabSz="584345">
              <a:defRPr sz="633">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253159689"/>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2_Title &amp; Bullets copy 5">
    <p:spTree>
      <p:nvGrpSpPr>
        <p:cNvPr id="1" name=""/>
        <p:cNvGrpSpPr/>
        <p:nvPr/>
      </p:nvGrpSpPr>
      <p:grpSpPr>
        <a:xfrm>
          <a:off x="0" y="0"/>
          <a:ext cx="0" cy="0"/>
          <a:chOff x="0" y="0"/>
          <a:chExt cx="0" cy="0"/>
        </a:xfrm>
      </p:grpSpPr>
      <p:sp>
        <p:nvSpPr>
          <p:cNvPr id="531" name="Shape 531"/>
          <p:cNvSpPr>
            <a:spLocks noGrp="1"/>
          </p:cNvSpPr>
          <p:nvPr>
            <p:ph type="title"/>
          </p:nvPr>
        </p:nvSpPr>
        <p:spPr>
          <a:xfrm>
            <a:off x="916662" y="384065"/>
            <a:ext cx="10357090" cy="1598785"/>
          </a:xfrm>
          <a:prstGeom prst="rect">
            <a:avLst/>
          </a:prstGeom>
        </p:spPr>
        <p:txBody>
          <a:bodyPr>
            <a:noAutofit/>
          </a:bodyPr>
          <a:lstStyle>
            <a:lvl1pPr marL="57813" marR="57813" defTabSz="1295722">
              <a:defRPr sz="3938">
                <a:uFill>
                  <a:solidFill>
                    <a:srgbClr val="000000"/>
                  </a:solidFill>
                </a:uFill>
                <a:latin typeface="Arial"/>
                <a:ea typeface="Arial"/>
                <a:cs typeface="Arial"/>
                <a:sym typeface="Arial"/>
              </a:defRPr>
            </a:lvl1pPr>
          </a:lstStyle>
          <a:p>
            <a:r>
              <a:t>Title Text</a:t>
            </a:r>
          </a:p>
        </p:txBody>
      </p:sp>
      <p:sp>
        <p:nvSpPr>
          <p:cNvPr id="532" name="Shape 532"/>
          <p:cNvSpPr>
            <a:spLocks noGrp="1"/>
          </p:cNvSpPr>
          <p:nvPr>
            <p:ph type="body" idx="1"/>
          </p:nvPr>
        </p:nvSpPr>
        <p:spPr>
          <a:xfrm>
            <a:off x="916662" y="1982850"/>
            <a:ext cx="10357090" cy="4876738"/>
          </a:xfrm>
          <a:prstGeom prst="rect">
            <a:avLst/>
          </a:prstGeom>
        </p:spPr>
        <p:txBody>
          <a:bodyPr anchor="t">
            <a:noAutofit/>
          </a:bodyPr>
          <a:lstStyle>
            <a:lvl1pPr marL="246775" marR="57813" indent="-218193" defTabSz="1295722">
              <a:spcBef>
                <a:spcPts val="985"/>
              </a:spcBef>
              <a:buSzPct val="100000"/>
              <a:defRPr sz="2673">
                <a:uFill>
                  <a:solidFill>
                    <a:srgbClr val="000000"/>
                  </a:solidFill>
                </a:uFill>
                <a:latin typeface="Arial"/>
                <a:ea typeface="Arial"/>
                <a:cs typeface="Arial"/>
                <a:sym typeface="Arial"/>
              </a:defRPr>
            </a:lvl1pPr>
            <a:lvl2pPr marL="539934" marR="57813" indent="-189803" defTabSz="1295722">
              <a:spcBef>
                <a:spcPts val="844"/>
              </a:spcBef>
              <a:buSzPct val="100000"/>
              <a:buChar char="–"/>
              <a:defRPr sz="2391">
                <a:uFill>
                  <a:solidFill>
                    <a:srgbClr val="000000"/>
                  </a:solidFill>
                </a:uFill>
                <a:latin typeface="Arial"/>
                <a:ea typeface="Arial"/>
                <a:cs typeface="Arial"/>
                <a:sym typeface="Arial"/>
              </a:defRPr>
            </a:lvl2pPr>
            <a:lvl3pPr marL="821736" marR="57813" indent="-150056" defTabSz="1295722">
              <a:spcBef>
                <a:spcPts val="774"/>
              </a:spcBef>
              <a:buSzPct val="100000"/>
              <a:defRPr sz="1969">
                <a:uFill>
                  <a:solidFill>
                    <a:srgbClr val="000000"/>
                  </a:solidFill>
                </a:uFill>
                <a:latin typeface="Arial"/>
                <a:ea typeface="Arial"/>
                <a:cs typeface="Arial"/>
                <a:sym typeface="Arial"/>
              </a:defRPr>
            </a:lvl3pPr>
            <a:lvl4pPr marL="1140604" marR="57813" indent="-147377" defTabSz="1295722">
              <a:spcBef>
                <a:spcPts val="633"/>
              </a:spcBef>
              <a:buSzPct val="100000"/>
              <a:buChar char="–"/>
              <a:defRPr sz="1547">
                <a:uFill>
                  <a:solidFill>
                    <a:srgbClr val="000000"/>
                  </a:solidFill>
                </a:uFill>
                <a:latin typeface="Arial"/>
                <a:ea typeface="Arial"/>
                <a:cs typeface="Arial"/>
                <a:sym typeface="Arial"/>
              </a:defRPr>
            </a:lvl4pPr>
            <a:lvl5pPr marL="1462153" marR="57813" indent="-147377" defTabSz="1295722">
              <a:spcBef>
                <a:spcPts val="633"/>
              </a:spcBef>
              <a:buSzPct val="100000"/>
              <a:buChar char="»"/>
              <a:defRPr sz="1547">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33" name="Shape 533"/>
          <p:cNvSpPr>
            <a:spLocks noGrp="1"/>
          </p:cNvSpPr>
          <p:nvPr>
            <p:ph type="sldNum" sz="quarter" idx="2"/>
          </p:nvPr>
        </p:nvSpPr>
        <p:spPr>
          <a:xfrm>
            <a:off x="9860035" y="6252229"/>
            <a:ext cx="333425" cy="254172"/>
          </a:xfrm>
          <a:prstGeom prst="rect">
            <a:avLst/>
          </a:prstGeom>
        </p:spPr>
        <p:txBody>
          <a:bodyPr/>
          <a:lstStyle>
            <a:lvl1pPr defTabSz="647861">
              <a:defRPr sz="98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126954437"/>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type="tx">
  <p:cSld name="6_Title &amp; Bullets copy">
    <p:spTree>
      <p:nvGrpSpPr>
        <p:cNvPr id="1" name=""/>
        <p:cNvGrpSpPr/>
        <p:nvPr/>
      </p:nvGrpSpPr>
      <p:grpSpPr>
        <a:xfrm>
          <a:off x="0" y="0"/>
          <a:ext cx="0" cy="0"/>
          <a:chOff x="0" y="0"/>
          <a:chExt cx="0" cy="0"/>
        </a:xfrm>
      </p:grpSpPr>
      <p:sp>
        <p:nvSpPr>
          <p:cNvPr id="540" name="Shape 540"/>
          <p:cNvSpPr>
            <a:spLocks noGrp="1"/>
          </p:cNvSpPr>
          <p:nvPr>
            <p:ph type="title"/>
          </p:nvPr>
        </p:nvSpPr>
        <p:spPr>
          <a:xfrm>
            <a:off x="914280" y="381088"/>
            <a:ext cx="10361853" cy="1600571"/>
          </a:xfrm>
          <a:prstGeom prst="rect">
            <a:avLst/>
          </a:prstGeom>
        </p:spPr>
        <p:txBody>
          <a:bodyPr lIns="72248" tIns="72248" rIns="72248" bIns="72248">
            <a:noAutofit/>
          </a:bodyPr>
          <a:lstStyle>
            <a:lvl1pPr marL="4466" marR="40650" indent="-4466" defTabSz="647861">
              <a:defRPr sz="4079">
                <a:uFill>
                  <a:solidFill>
                    <a:srgbClr val="000000"/>
                  </a:solidFill>
                </a:uFill>
                <a:latin typeface="Arial"/>
                <a:ea typeface="Arial"/>
                <a:cs typeface="Arial"/>
                <a:sym typeface="Arial"/>
              </a:defRPr>
            </a:lvl1pPr>
          </a:lstStyle>
          <a:p>
            <a:r>
              <a:t>Title Text</a:t>
            </a:r>
          </a:p>
        </p:txBody>
      </p:sp>
      <p:sp>
        <p:nvSpPr>
          <p:cNvPr id="541" name="Shape 541"/>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5538" marR="40650" indent="-337625" defTabSz="647861">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91996" marR="40650" indent="-278263" defTabSz="647861">
              <a:spcBef>
                <a:spcPts val="563"/>
              </a:spcBef>
              <a:buClr>
                <a:srgbClr val="000000"/>
              </a:buClr>
              <a:buSzPct val="100000"/>
              <a:buFont typeface="Arial"/>
              <a:buChar char="–"/>
              <a:defRPr>
                <a:uFill>
                  <a:solidFill>
                    <a:srgbClr val="000000"/>
                  </a:solidFill>
                </a:uFill>
                <a:latin typeface="Arial"/>
                <a:ea typeface="Arial"/>
                <a:cs typeface="Arial"/>
                <a:sym typeface="Arial"/>
              </a:defRPr>
            </a:lvl2pPr>
            <a:lvl3pPr marL="854519" marR="40650" indent="-219238" defTabSz="647861">
              <a:spcBef>
                <a:spcPts val="563"/>
              </a:spcBef>
              <a:buClr>
                <a:srgbClr val="000000"/>
              </a:buClr>
              <a:buSzPct val="100000"/>
              <a:buFont typeface="Arial"/>
              <a:defRPr sz="2110">
                <a:uFill>
                  <a:solidFill>
                    <a:srgbClr val="000000"/>
                  </a:solidFill>
                </a:uFill>
                <a:latin typeface="Arial"/>
                <a:ea typeface="Arial"/>
                <a:cs typeface="Arial"/>
                <a:sym typeface="Arial"/>
              </a:defRPr>
            </a:lvl3pPr>
            <a:lvl4pPr marL="1171196"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92745"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42" name="Shape 542"/>
          <p:cNvSpPr>
            <a:spLocks noGrp="1"/>
          </p:cNvSpPr>
          <p:nvPr>
            <p:ph type="sldNum" sz="quarter" idx="2"/>
          </p:nvPr>
        </p:nvSpPr>
        <p:spPr>
          <a:xfrm>
            <a:off x="9826290" y="6249847"/>
            <a:ext cx="410403" cy="319031"/>
          </a:xfrm>
          <a:prstGeom prst="rect">
            <a:avLst/>
          </a:prstGeom>
        </p:spPr>
        <p:txBody>
          <a:bodyPr lIns="72248" tIns="72248" rIns="72248" bIns="72248"/>
          <a:lstStyle>
            <a:lvl1pPr defTabSz="406501">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83617673"/>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type="tx">
  <p:cSld name="2_Default - Title and Content">
    <p:spTree>
      <p:nvGrpSpPr>
        <p:cNvPr id="1" name=""/>
        <p:cNvGrpSpPr/>
        <p:nvPr/>
      </p:nvGrpSpPr>
      <p:grpSpPr>
        <a:xfrm>
          <a:off x="0" y="0"/>
          <a:ext cx="0" cy="0"/>
          <a:chOff x="0" y="0"/>
          <a:chExt cx="0" cy="0"/>
        </a:xfrm>
      </p:grpSpPr>
      <p:sp>
        <p:nvSpPr>
          <p:cNvPr id="549" name="Shape 549"/>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50" name="Shape 550"/>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503908"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74470"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10390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306664"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51" name="Shape 551"/>
          <p:cNvSpPr>
            <a:spLocks noGrp="1"/>
          </p:cNvSpPr>
          <p:nvPr>
            <p:ph type="sldNum" sz="quarter" idx="2"/>
          </p:nvPr>
        </p:nvSpPr>
        <p:spPr>
          <a:xfrm>
            <a:off x="9583601"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3308422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x">
  <p:cSld name="9_Title &amp; Bullets">
    <p:spTree>
      <p:nvGrpSpPr>
        <p:cNvPr id="1" name=""/>
        <p:cNvGrpSpPr/>
        <p:nvPr/>
      </p:nvGrpSpPr>
      <p:grpSpPr>
        <a:xfrm>
          <a:off x="0" y="0"/>
          <a:ext cx="0" cy="0"/>
          <a:chOff x="0" y="0"/>
          <a:chExt cx="0" cy="0"/>
        </a:xfrm>
      </p:grpSpPr>
      <p:sp>
        <p:nvSpPr>
          <p:cNvPr id="558" name="Shape 558"/>
          <p:cNvSpPr>
            <a:spLocks noGrp="1"/>
          </p:cNvSpPr>
          <p:nvPr>
            <p:ph type="title"/>
          </p:nvPr>
        </p:nvSpPr>
        <p:spPr>
          <a:xfrm>
            <a:off x="914280" y="381088"/>
            <a:ext cx="10361853" cy="1600571"/>
          </a:xfrm>
          <a:prstGeom prst="rect">
            <a:avLst/>
          </a:prstGeom>
        </p:spPr>
        <p:txBody>
          <a:bodyPr lIns="72248" tIns="72248" rIns="72248" bIns="72248">
            <a:noAutofit/>
          </a:bodyPr>
          <a:lstStyle>
            <a:lvl1pPr marL="39697" marR="40650" defTabSz="914628">
              <a:defRPr sz="4360">
                <a:uFill>
                  <a:solidFill>
                    <a:srgbClr val="000000"/>
                  </a:solidFill>
                </a:uFill>
                <a:latin typeface="Arial"/>
                <a:ea typeface="Arial"/>
                <a:cs typeface="Arial"/>
                <a:sym typeface="Arial"/>
              </a:defRPr>
            </a:lvl1pPr>
          </a:lstStyle>
          <a:p>
            <a:r>
              <a:t>Title Text</a:t>
            </a:r>
          </a:p>
        </p:txBody>
      </p:sp>
      <p:sp>
        <p:nvSpPr>
          <p:cNvPr id="559" name="Shape 559"/>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marR="40650" indent="-331597" defTabSz="914628">
              <a:spcBef>
                <a:spcPts val="633"/>
              </a:spcBef>
              <a:buClr>
                <a:srgbClr val="000000"/>
              </a:buClr>
              <a:buSzPct val="100000"/>
              <a:buFont typeface="Arial"/>
              <a:defRPr sz="3095">
                <a:uFill>
                  <a:solidFill>
                    <a:srgbClr val="000000"/>
                  </a:solidFill>
                </a:uFill>
                <a:latin typeface="Arial"/>
                <a:ea typeface="Arial"/>
                <a:cs typeface="Arial"/>
                <a:sym typeface="Arial"/>
              </a:defRPr>
            </a:lvl1pPr>
            <a:lvl2pPr marL="586476" marR="40650" indent="-272742" defTabSz="914628">
              <a:spcBef>
                <a:spcPts val="563"/>
              </a:spcBef>
              <a:buClr>
                <a:srgbClr val="000000"/>
              </a:buClr>
              <a:buSzPct val="100000"/>
              <a:buFont typeface="Arial"/>
              <a:buChar char="–"/>
              <a:defRPr sz="2673">
                <a:uFill>
                  <a:solidFill>
                    <a:srgbClr val="000000"/>
                  </a:solidFill>
                </a:uFill>
                <a:latin typeface="Arial"/>
                <a:ea typeface="Arial"/>
                <a:cs typeface="Arial"/>
                <a:sym typeface="Arial"/>
              </a:defRPr>
            </a:lvl2pPr>
            <a:lvl3pPr marL="863045" marR="40650" indent="-227764" defTabSz="91462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81915"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503463"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0" name="Shape 560"/>
          <p:cNvSpPr>
            <a:spLocks noGrp="1"/>
          </p:cNvSpPr>
          <p:nvPr>
            <p:ph type="sldNum" sz="quarter" idx="2"/>
          </p:nvPr>
        </p:nvSpPr>
        <p:spPr>
          <a:xfrm>
            <a:off x="9812388" y="6249847"/>
            <a:ext cx="435089" cy="340704"/>
          </a:xfrm>
          <a:prstGeom prst="rect">
            <a:avLst/>
          </a:prstGeom>
        </p:spPr>
        <p:txBody>
          <a:bodyPr lIns="72248" tIns="72248" rIns="72248" bIns="72248"/>
          <a:lstStyle>
            <a:lvl1pPr defTabSz="45731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69317592"/>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type="tx">
  <p:cSld name="Title &amp; Bullets copy 15">
    <p:spTree>
      <p:nvGrpSpPr>
        <p:cNvPr id="1" name=""/>
        <p:cNvGrpSpPr/>
        <p:nvPr/>
      </p:nvGrpSpPr>
      <p:grpSpPr>
        <a:xfrm>
          <a:off x="0" y="0"/>
          <a:ext cx="0" cy="0"/>
          <a:chOff x="0" y="0"/>
          <a:chExt cx="0" cy="0"/>
        </a:xfrm>
      </p:grpSpPr>
      <p:sp>
        <p:nvSpPr>
          <p:cNvPr id="567" name="Shape 567"/>
          <p:cNvSpPr>
            <a:spLocks noGrp="1"/>
          </p:cNvSpPr>
          <p:nvPr>
            <p:ph type="title"/>
          </p:nvPr>
        </p:nvSpPr>
        <p:spPr>
          <a:xfrm>
            <a:off x="914280" y="0"/>
            <a:ext cx="10361853" cy="2362748"/>
          </a:xfrm>
          <a:prstGeom prst="rect">
            <a:avLst/>
          </a:prstGeom>
        </p:spPr>
        <p:txBody>
          <a:bodyPr lIns="72248" tIns="72248" rIns="72248" bIns="72248">
            <a:noAutofit/>
          </a:bodyPr>
          <a:lstStyle>
            <a:lvl1pPr marL="40650" marR="40650" defTabSz="914628">
              <a:defRPr sz="4079">
                <a:uFill>
                  <a:solidFill>
                    <a:srgbClr val="000000"/>
                  </a:solidFill>
                </a:uFill>
                <a:latin typeface="Arial"/>
                <a:ea typeface="Arial"/>
                <a:cs typeface="Arial"/>
                <a:sym typeface="Arial"/>
              </a:defRPr>
            </a:lvl1pPr>
          </a:lstStyle>
          <a:p>
            <a:r>
              <a:t>Title Text</a:t>
            </a:r>
          </a:p>
        </p:txBody>
      </p:sp>
      <p:sp>
        <p:nvSpPr>
          <p:cNvPr id="568" name="Shape 56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6208" marR="40650" indent="-337625" defTabSz="914628">
              <a:spcBef>
                <a:spcPts val="703"/>
              </a:spcBef>
              <a:buSzPct val="100000"/>
              <a:defRPr sz="2954">
                <a:uFill>
                  <a:solidFill>
                    <a:srgbClr val="000000"/>
                  </a:solidFill>
                </a:uFill>
                <a:latin typeface="Arial"/>
                <a:ea typeface="Arial"/>
                <a:cs typeface="Arial"/>
                <a:sym typeface="Arial"/>
              </a:defRPr>
            </a:lvl1pPr>
            <a:lvl2pPr marL="628394" marR="40650" indent="-278263" defTabSz="914628">
              <a:spcBef>
                <a:spcPts val="633"/>
              </a:spcBef>
              <a:buSzPct val="100000"/>
              <a:buChar char="–"/>
              <a:defRPr>
                <a:uFill>
                  <a:solidFill>
                    <a:srgbClr val="000000"/>
                  </a:solidFill>
                </a:uFill>
                <a:latin typeface="Arial"/>
                <a:ea typeface="Arial"/>
                <a:cs typeface="Arial"/>
                <a:sym typeface="Arial"/>
              </a:defRPr>
            </a:lvl2pPr>
            <a:lvl3pPr marL="890917" marR="40650" indent="-219238" defTabSz="914628">
              <a:spcBef>
                <a:spcPts val="492"/>
              </a:spcBef>
              <a:buSzPct val="100000"/>
              <a:defRPr sz="2110">
                <a:uFill>
                  <a:solidFill>
                    <a:srgbClr val="000000"/>
                  </a:solidFill>
                </a:uFill>
                <a:latin typeface="Arial"/>
                <a:ea typeface="Arial"/>
                <a:cs typeface="Arial"/>
                <a:sym typeface="Arial"/>
              </a:defRPr>
            </a:lvl3pPr>
            <a:lvl4pPr marL="1207594" marR="40650" indent="-214366" defTabSz="914628">
              <a:spcBef>
                <a:spcPts val="422"/>
              </a:spcBef>
              <a:buSzPct val="100000"/>
              <a:buChar char="–"/>
              <a:defRPr sz="1688">
                <a:uFill>
                  <a:solidFill>
                    <a:srgbClr val="000000"/>
                  </a:solidFill>
                </a:uFill>
                <a:latin typeface="Arial"/>
                <a:ea typeface="Arial"/>
                <a:cs typeface="Arial"/>
                <a:sym typeface="Arial"/>
              </a:defRPr>
            </a:lvl4pPr>
            <a:lvl5pPr marL="1529142" marR="40650" indent="-214366" defTabSz="914628">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9" name="Shape 569"/>
          <p:cNvSpPr>
            <a:spLocks noGrp="1"/>
          </p:cNvSpPr>
          <p:nvPr>
            <p:ph type="sldNum" sz="quarter" idx="2"/>
          </p:nvPr>
        </p:nvSpPr>
        <p:spPr>
          <a:xfrm>
            <a:off x="9826688" y="6249847"/>
            <a:ext cx="410403" cy="319031"/>
          </a:xfrm>
          <a:prstGeom prst="rect">
            <a:avLst/>
          </a:prstGeom>
        </p:spPr>
        <p:txBody>
          <a:bodyPr lIns="72248" tIns="72248" rIns="72248" bIns="72248"/>
          <a:lstStyle>
            <a:lvl1pPr defTabSz="457314">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273107475"/>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type="tx">
  <p:cSld name="3_Default">
    <p:spTree>
      <p:nvGrpSpPr>
        <p:cNvPr id="1" name=""/>
        <p:cNvGrpSpPr/>
        <p:nvPr/>
      </p:nvGrpSpPr>
      <p:grpSpPr>
        <a:xfrm>
          <a:off x="0" y="0"/>
          <a:ext cx="0" cy="0"/>
          <a:chOff x="0" y="0"/>
          <a:chExt cx="0" cy="0"/>
        </a:xfrm>
      </p:grpSpPr>
      <p:sp>
        <p:nvSpPr>
          <p:cNvPr id="576" name="Shape 576"/>
          <p:cNvSpPr>
            <a:spLocks noGrp="1"/>
          </p:cNvSpPr>
          <p:nvPr>
            <p:ph type="sldNum" sz="quarter" idx="2"/>
          </p:nvPr>
        </p:nvSpPr>
        <p:spPr>
          <a:xfrm>
            <a:off x="9819160" y="6249847"/>
            <a:ext cx="420498" cy="326113"/>
          </a:xfrm>
          <a:prstGeom prst="rect">
            <a:avLst/>
          </a:prstGeom>
        </p:spPr>
        <p:txBody>
          <a:bodyPr lIns="65023" tIns="65023" rIns="65023" bIns="65023"/>
          <a:lstStyle>
            <a:lvl1pPr defTabSz="643098">
              <a:defRPr>
                <a:latin typeface="Arial"/>
                <a:ea typeface="Arial"/>
                <a:cs typeface="Arial"/>
                <a:sym typeface="Arial"/>
              </a:defRPr>
            </a:lvl1pPr>
          </a:lstStyle>
          <a:p>
            <a:fld id="{86CB4B4D-7CA3-9044-876B-883B54F8677D}" type="slidenum">
              <a:t>‹nr.›</a:t>
            </a:fld>
            <a:endParaRPr/>
          </a:p>
        </p:txBody>
      </p:sp>
      <p:sp>
        <p:nvSpPr>
          <p:cNvPr id="577" name="Shape 577"/>
          <p:cNvSpPr>
            <a:spLocks noGrp="1"/>
          </p:cNvSpPr>
          <p:nvPr>
            <p:ph type="title"/>
          </p:nvPr>
        </p:nvSpPr>
        <p:spPr>
          <a:xfrm>
            <a:off x="914280" y="381088"/>
            <a:ext cx="10361853" cy="1600571"/>
          </a:xfrm>
          <a:prstGeom prst="rect">
            <a:avLst/>
          </a:prstGeom>
        </p:spPr>
        <p:txBody>
          <a:bodyPr lIns="72248" tIns="72248" rIns="72248" bIns="72248">
            <a:noAutofit/>
          </a:bodyPr>
          <a:lstStyle>
            <a:lvl1pPr indent="27912" defTabSz="643098">
              <a:defRPr sz="4360">
                <a:latin typeface="Arial"/>
                <a:ea typeface="Arial"/>
                <a:cs typeface="Arial"/>
                <a:sym typeface="Arial"/>
              </a:defRPr>
            </a:lvl1pPr>
          </a:lstStyle>
          <a:p>
            <a:r>
              <a:t>Title Text</a:t>
            </a:r>
          </a:p>
        </p:txBody>
      </p:sp>
      <p:sp>
        <p:nvSpPr>
          <p:cNvPr id="578" name="Shape 57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indent="-331597" defTabSz="643098">
              <a:spcBef>
                <a:spcPts val="492"/>
              </a:spcBef>
              <a:buSzPct val="100000"/>
              <a:buFont typeface="Arial"/>
              <a:buChar char="»"/>
              <a:defRPr sz="3095">
                <a:latin typeface="Arial"/>
                <a:ea typeface="Arial"/>
                <a:cs typeface="Arial"/>
                <a:sym typeface="Arial"/>
              </a:defRPr>
            </a:lvl1pPr>
            <a:lvl2pPr marL="629540" indent="-315806" defTabSz="643098">
              <a:spcBef>
                <a:spcPts val="492"/>
              </a:spcBef>
              <a:buSzPct val="100000"/>
              <a:buFont typeface="Arial"/>
              <a:buChar char="–"/>
              <a:defRPr sz="3095">
                <a:latin typeface="Arial"/>
                <a:ea typeface="Arial"/>
                <a:cs typeface="Arial"/>
                <a:sym typeface="Arial"/>
              </a:defRPr>
            </a:lvl2pPr>
            <a:lvl3pPr marL="930035" indent="-294753" defTabSz="643098">
              <a:spcBef>
                <a:spcPts val="492"/>
              </a:spcBef>
              <a:buSzPct val="100000"/>
              <a:buFont typeface="Arial"/>
              <a:defRPr sz="3095">
                <a:latin typeface="Arial"/>
                <a:ea typeface="Arial"/>
                <a:cs typeface="Arial"/>
                <a:sym typeface="Arial"/>
              </a:defRPr>
            </a:lvl3pPr>
            <a:lvl4pPr marL="1310534" indent="-353704" defTabSz="643098">
              <a:spcBef>
                <a:spcPts val="492"/>
              </a:spcBef>
              <a:buSzPct val="100000"/>
              <a:buFont typeface="Arial"/>
              <a:buChar char="–"/>
              <a:defRPr sz="3095">
                <a:latin typeface="Arial"/>
                <a:ea typeface="Arial"/>
                <a:cs typeface="Arial"/>
                <a:sym typeface="Arial"/>
              </a:defRPr>
            </a:lvl4pPr>
            <a:lvl5pPr marL="1632083" indent="-353704" defTabSz="643098">
              <a:spcBef>
                <a:spcPts val="492"/>
              </a:spcBef>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986147872"/>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type="tx">
  <p:cSld name="7_Title &amp; Bullets copy">
    <p:spTree>
      <p:nvGrpSpPr>
        <p:cNvPr id="1" name=""/>
        <p:cNvGrpSpPr/>
        <p:nvPr/>
      </p:nvGrpSpPr>
      <p:grpSpPr>
        <a:xfrm>
          <a:off x="0" y="0"/>
          <a:ext cx="0" cy="0"/>
          <a:chOff x="0" y="0"/>
          <a:chExt cx="0" cy="0"/>
        </a:xfrm>
      </p:grpSpPr>
      <p:sp>
        <p:nvSpPr>
          <p:cNvPr id="585" name="Shape 585"/>
          <p:cNvSpPr>
            <a:spLocks noGrp="1"/>
          </p:cNvSpPr>
          <p:nvPr>
            <p:ph type="title"/>
          </p:nvPr>
        </p:nvSpPr>
        <p:spPr>
          <a:xfrm>
            <a:off x="916662" y="384065"/>
            <a:ext cx="10357090" cy="1598785"/>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586" name="Shape 586"/>
          <p:cNvSpPr>
            <a:spLocks noGrp="1"/>
          </p:cNvSpPr>
          <p:nvPr>
            <p:ph type="body" idx="1"/>
          </p:nvPr>
        </p:nvSpPr>
        <p:spPr>
          <a:xfrm>
            <a:off x="916662" y="1982850"/>
            <a:ext cx="10357090" cy="4876738"/>
          </a:xfrm>
          <a:prstGeom prst="rect">
            <a:avLst/>
          </a:prstGeom>
        </p:spPr>
        <p:txBody>
          <a:bodyPr anchor="t">
            <a:noAutofit/>
          </a:bodyPr>
          <a:lstStyle>
            <a:lvl1pPr marL="258781" marR="40650" indent="-230199" defTabSz="911055">
              <a:spcBef>
                <a:spcPts val="703"/>
              </a:spcBef>
              <a:buSzPct val="100000"/>
              <a:defRPr sz="2954">
                <a:uFill>
                  <a:solidFill>
                    <a:srgbClr val="000000"/>
                  </a:solidFill>
                </a:uFill>
                <a:latin typeface="Arial"/>
                <a:ea typeface="Arial"/>
                <a:cs typeface="Arial"/>
                <a:sym typeface="Arial"/>
              </a:defRPr>
            </a:lvl1pPr>
            <a:lvl2pPr marL="540521" marR="40650" indent="-190390" defTabSz="911055">
              <a:spcBef>
                <a:spcPts val="633"/>
              </a:spcBef>
              <a:buSzPct val="100000"/>
              <a:buChar char="–"/>
              <a:defRPr>
                <a:uFill>
                  <a:solidFill>
                    <a:srgbClr val="000000"/>
                  </a:solidFill>
                </a:uFill>
                <a:latin typeface="Arial"/>
                <a:ea typeface="Arial"/>
                <a:cs typeface="Arial"/>
                <a:sym typeface="Arial"/>
              </a:defRPr>
            </a:lvl2pPr>
            <a:lvl3pPr marL="813539" marR="40650" indent="-141859" defTabSz="911055">
              <a:spcBef>
                <a:spcPts val="492"/>
              </a:spcBef>
              <a:buSzPct val="100000"/>
              <a:defRPr sz="2110">
                <a:uFill>
                  <a:solidFill>
                    <a:srgbClr val="000000"/>
                  </a:solidFill>
                </a:uFill>
                <a:latin typeface="Arial"/>
                <a:ea typeface="Arial"/>
                <a:cs typeface="Arial"/>
                <a:sym typeface="Arial"/>
              </a:defRPr>
            </a:lvl3pPr>
            <a:lvl4pPr marL="1131034" marR="40650" indent="-137806" defTabSz="911055">
              <a:spcBef>
                <a:spcPts val="422"/>
              </a:spcBef>
              <a:buSzPct val="100000"/>
              <a:buChar char="–"/>
              <a:defRPr sz="1688">
                <a:uFill>
                  <a:solidFill>
                    <a:srgbClr val="000000"/>
                  </a:solidFill>
                </a:uFill>
                <a:latin typeface="Arial"/>
                <a:ea typeface="Arial"/>
                <a:cs typeface="Arial"/>
                <a:sym typeface="Arial"/>
              </a:defRPr>
            </a:lvl4pPr>
            <a:lvl5pPr marL="1452583" marR="40650" indent="-137806"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87" name="Shape 587"/>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39477111"/>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type="tx">
  <p:cSld name="4_Default">
    <p:spTree>
      <p:nvGrpSpPr>
        <p:cNvPr id="1" name=""/>
        <p:cNvGrpSpPr/>
        <p:nvPr/>
      </p:nvGrpSpPr>
      <p:grpSpPr>
        <a:xfrm>
          <a:off x="0" y="0"/>
          <a:ext cx="0" cy="0"/>
          <a:chOff x="0" y="0"/>
          <a:chExt cx="0" cy="0"/>
        </a:xfrm>
      </p:grpSpPr>
      <p:sp>
        <p:nvSpPr>
          <p:cNvPr id="594" name="Shape 594"/>
          <p:cNvSpPr>
            <a:spLocks noGrp="1"/>
          </p:cNvSpPr>
          <p:nvPr>
            <p:ph type="title"/>
          </p:nvPr>
        </p:nvSpPr>
        <p:spPr>
          <a:xfrm>
            <a:off x="914280" y="609741"/>
            <a:ext cx="10361853" cy="1143265"/>
          </a:xfrm>
          <a:prstGeom prst="rect">
            <a:avLst/>
          </a:prstGeom>
        </p:spPr>
        <p:txBody>
          <a:bodyPr lIns="65023" tIns="65023" rIns="65023" bIns="65023"/>
          <a:lstStyle>
            <a:lvl1pPr defTabSz="914628">
              <a:defRPr sz="4360">
                <a:latin typeface="Times"/>
                <a:ea typeface="Times"/>
                <a:cs typeface="Times"/>
                <a:sym typeface="Times"/>
              </a:defRPr>
            </a:lvl1pPr>
          </a:lstStyle>
          <a:p>
            <a:r>
              <a:t>Title Text</a:t>
            </a:r>
          </a:p>
        </p:txBody>
      </p:sp>
      <p:sp>
        <p:nvSpPr>
          <p:cNvPr id="595" name="Shape 595"/>
          <p:cNvSpPr>
            <a:spLocks noGrp="1"/>
          </p:cNvSpPr>
          <p:nvPr>
            <p:ph type="body" sz="half" idx="1"/>
          </p:nvPr>
        </p:nvSpPr>
        <p:spPr>
          <a:xfrm>
            <a:off x="914280" y="1981658"/>
            <a:ext cx="5084984" cy="4115754"/>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596" name="Shape 596"/>
          <p:cNvSpPr>
            <a:spLocks noGrp="1"/>
          </p:cNvSpPr>
          <p:nvPr>
            <p:ph type="body" sz="half" idx="13"/>
          </p:nvPr>
        </p:nvSpPr>
        <p:spPr>
          <a:xfrm>
            <a:off x="6191149" y="1981658"/>
            <a:ext cx="5084984" cy="4115754"/>
          </a:xfrm>
          <a:prstGeom prst="rect">
            <a:avLst/>
          </a:prstGeom>
        </p:spPr>
        <p:txBody>
          <a:bodyPr lIns="65023" tIns="65023" rIns="65023" bIns="65023" anchor="t"/>
          <a:lstStyle>
            <a:lvl1pPr marL="331597" indent="-331597" defTabSz="914628">
              <a:spcBef>
                <a:spcPts val="703"/>
              </a:spcBef>
              <a:buSzPct val="100000"/>
              <a:defRPr sz="4400">
                <a:latin typeface="Times"/>
                <a:cs typeface="Times"/>
                <a:sym typeface="Times"/>
              </a:defRPr>
            </a:lvl1pPr>
          </a:lstStyle>
          <a:p>
            <a:pPr marL="471487" indent="-471487" defTabSz="1300480">
              <a:spcBef>
                <a:spcPts val="1000"/>
              </a:spcBef>
              <a:buSzPct val="100000"/>
              <a:defRPr sz="4400">
                <a:latin typeface="Times"/>
                <a:ea typeface="Times"/>
                <a:cs typeface="Times"/>
                <a:sym typeface="Times"/>
              </a:defRPr>
            </a:pPr>
            <a:endParaRPr/>
          </a:p>
        </p:txBody>
      </p:sp>
      <p:sp>
        <p:nvSpPr>
          <p:cNvPr id="597" name="Shape 597"/>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03510610"/>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type="tx">
  <p:cSld name="5_Default">
    <p:spTree>
      <p:nvGrpSpPr>
        <p:cNvPr id="1" name=""/>
        <p:cNvGrpSpPr/>
        <p:nvPr/>
      </p:nvGrpSpPr>
      <p:grpSpPr>
        <a:xfrm>
          <a:off x="0" y="0"/>
          <a:ext cx="0" cy="0"/>
          <a:chOff x="0" y="0"/>
          <a:chExt cx="0" cy="0"/>
        </a:xfrm>
      </p:grpSpPr>
      <p:sp>
        <p:nvSpPr>
          <p:cNvPr id="604" name="Shape 604"/>
          <p:cNvSpPr>
            <a:spLocks noGrp="1"/>
          </p:cNvSpPr>
          <p:nvPr>
            <p:ph type="body" idx="1"/>
          </p:nvPr>
        </p:nvSpPr>
        <p:spPr>
          <a:xfrm>
            <a:off x="914280" y="609741"/>
            <a:ext cx="10361853" cy="5487671"/>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05" name="Shape 605"/>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790702263"/>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type="tx">
  <p:cSld name="1_Default - Title and Content">
    <p:spTree>
      <p:nvGrpSpPr>
        <p:cNvPr id="1" name=""/>
        <p:cNvGrpSpPr/>
        <p:nvPr/>
      </p:nvGrpSpPr>
      <p:grpSpPr>
        <a:xfrm>
          <a:off x="0" y="0"/>
          <a:ext cx="0" cy="0"/>
          <a:chOff x="0" y="0"/>
          <a:chExt cx="0" cy="0"/>
        </a:xfrm>
      </p:grpSpPr>
      <p:sp>
        <p:nvSpPr>
          <p:cNvPr id="612" name="Shape 61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613" name="Shape 613"/>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14" name="Shape 614"/>
          <p:cNvSpPr>
            <a:spLocks noGrp="1"/>
          </p:cNvSpPr>
          <p:nvPr>
            <p:ph type="sldNum" sz="quarter" idx="2"/>
          </p:nvPr>
        </p:nvSpPr>
        <p:spPr>
          <a:xfrm>
            <a:off x="9581486"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348580940"/>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type="tx">
  <p:cSld name="2_Title &amp; Bullets copy 7">
    <p:spTree>
      <p:nvGrpSpPr>
        <p:cNvPr id="1" name=""/>
        <p:cNvGrpSpPr/>
        <p:nvPr/>
      </p:nvGrpSpPr>
      <p:grpSpPr>
        <a:xfrm>
          <a:off x="0" y="0"/>
          <a:ext cx="0" cy="0"/>
          <a:chOff x="0" y="0"/>
          <a:chExt cx="0" cy="0"/>
        </a:xfrm>
      </p:grpSpPr>
      <p:sp>
        <p:nvSpPr>
          <p:cNvPr id="621" name="Shape 621"/>
          <p:cNvSpPr>
            <a:spLocks noGrp="1"/>
          </p:cNvSpPr>
          <p:nvPr>
            <p:ph type="title"/>
          </p:nvPr>
        </p:nvSpPr>
        <p:spPr>
          <a:xfrm>
            <a:off x="916662" y="384066"/>
            <a:ext cx="10357089" cy="1598784"/>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622" name="Shape 62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23" name="Shape 623"/>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49505347"/>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type="tx">
  <p:cSld name="6_Default - Titel og indholdsobjekt">
    <p:spTree>
      <p:nvGrpSpPr>
        <p:cNvPr id="1" name=""/>
        <p:cNvGrpSpPr/>
        <p:nvPr/>
      </p:nvGrpSpPr>
      <p:grpSpPr>
        <a:xfrm>
          <a:off x="0" y="0"/>
          <a:ext cx="0" cy="0"/>
          <a:chOff x="0" y="0"/>
          <a:chExt cx="0" cy="0"/>
        </a:xfrm>
      </p:grpSpPr>
      <p:sp>
        <p:nvSpPr>
          <p:cNvPr id="630" name="Shape 630"/>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31" name="Shape 631"/>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2954">
                <a:uFill>
                  <a:solidFill>
                    <a:srgbClr val="000000"/>
                  </a:solidFill>
                </a:uFill>
                <a:latin typeface="Times"/>
                <a:ea typeface="Times"/>
                <a:cs typeface="Times"/>
                <a:sym typeface="Times"/>
              </a:defRPr>
            </a:lvl1pPr>
            <a:lvl2pPr marL="407518" indent="-200968" defTabSz="643098">
              <a:spcBef>
                <a:spcPts val="703"/>
              </a:spcBef>
              <a:buClr>
                <a:srgbClr val="000000"/>
              </a:buClr>
              <a:buSzPct val="100000"/>
              <a:buFont typeface="Times"/>
              <a:buChar char="–"/>
              <a:defRPr>
                <a:uFill>
                  <a:solidFill>
                    <a:srgbClr val="000000"/>
                  </a:solidFill>
                </a:uFill>
                <a:latin typeface="Times"/>
                <a:ea typeface="Times"/>
                <a:cs typeface="Times"/>
                <a:sym typeface="Times"/>
              </a:defRPr>
            </a:lvl2pPr>
            <a:lvl3pPr marL="688873" indent="-160774" defTabSz="643098">
              <a:spcBef>
                <a:spcPts val="633"/>
              </a:spcBef>
              <a:buClr>
                <a:srgbClr val="000000"/>
              </a:buClr>
              <a:buSzPct val="100000"/>
              <a:buFont typeface="Times"/>
              <a:defRPr sz="2110">
                <a:uFill>
                  <a:solidFill>
                    <a:srgbClr val="000000"/>
                  </a:solidFill>
                </a:uFill>
                <a:latin typeface="Times"/>
                <a:ea typeface="Times"/>
                <a:cs typeface="Times"/>
                <a:sym typeface="Times"/>
              </a:defRPr>
            </a:lvl3pPr>
            <a:lvl4pPr marL="1010422"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4pPr>
            <a:lvl5pPr marL="1331971"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32" name="Shape 632"/>
          <p:cNvSpPr>
            <a:spLocks noGrp="1"/>
          </p:cNvSpPr>
          <p:nvPr>
            <p:ph type="sldNum" sz="quarter" idx="2"/>
          </p:nvPr>
        </p:nvSpPr>
        <p:spPr>
          <a:xfrm>
            <a:off x="9858580" y="6270092"/>
            <a:ext cx="355867" cy="275717"/>
          </a:xfrm>
          <a:prstGeom prst="rect">
            <a:avLst/>
          </a:prstGeom>
        </p:spPr>
        <p:txBody>
          <a:bodyPr/>
          <a:lstStyle>
            <a:lvl1pPr>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4230819203"/>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type="tx">
  <p:cSld name="Default - Titel og indholdsobjekt copy">
    <p:spTree>
      <p:nvGrpSpPr>
        <p:cNvPr id="1" name=""/>
        <p:cNvGrpSpPr/>
        <p:nvPr/>
      </p:nvGrpSpPr>
      <p:grpSpPr>
        <a:xfrm>
          <a:off x="0" y="0"/>
          <a:ext cx="0" cy="0"/>
          <a:chOff x="0" y="0"/>
          <a:chExt cx="0" cy="0"/>
        </a:xfrm>
      </p:grpSpPr>
      <p:sp>
        <p:nvSpPr>
          <p:cNvPr id="639" name="Shape 639"/>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40" name="Shape 640"/>
          <p:cNvSpPr>
            <a:spLocks noGrp="1"/>
          </p:cNvSpPr>
          <p:nvPr>
            <p:ph type="body" idx="1"/>
          </p:nvPr>
        </p:nvSpPr>
        <p:spPr>
          <a:xfrm>
            <a:off x="916662" y="1982850"/>
            <a:ext cx="10357089" cy="4876738"/>
          </a:xfrm>
          <a:prstGeom prst="rect">
            <a:avLst/>
          </a:prstGeom>
        </p:spPr>
        <p:txBody>
          <a:bodyPr anchor="t">
            <a:noAutofit/>
          </a:bodyPr>
          <a:lstStyle>
            <a:lvl1pPr marL="269074" indent="-241162" defTabSz="643098">
              <a:spcBef>
                <a:spcPts val="774"/>
              </a:spcBef>
              <a:buClr>
                <a:srgbClr val="000000"/>
              </a:buClr>
              <a:buSzPct val="100000"/>
              <a:defRPr sz="2954">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a:uFill>
                  <a:solidFill>
                    <a:srgbClr val="000000"/>
                  </a:solidFill>
                </a:uFill>
                <a:latin typeface="Times"/>
                <a:ea typeface="Times"/>
                <a:cs typeface="Times"/>
                <a:sym typeface="Times"/>
              </a:defRPr>
            </a:lvl2pPr>
            <a:lvl3pPr marL="724601" indent="-160774" defTabSz="643098">
              <a:spcBef>
                <a:spcPts val="633"/>
              </a:spcBef>
              <a:buClr>
                <a:srgbClr val="000000"/>
              </a:buClr>
              <a:buSzPct val="100000"/>
              <a:defRPr sz="2110">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41" name="Shape 641"/>
          <p:cNvSpPr>
            <a:spLocks noGrp="1"/>
          </p:cNvSpPr>
          <p:nvPr>
            <p:ph type="sldNum" sz="quarter" idx="2"/>
          </p:nvPr>
        </p:nvSpPr>
        <p:spPr>
          <a:xfrm>
            <a:off x="9870486" y="6270092"/>
            <a:ext cx="330219" cy="250068"/>
          </a:xfrm>
          <a:prstGeom prst="rect">
            <a:avLst/>
          </a:prstGeom>
        </p:spPr>
        <p:txBody>
          <a:bodyPr lIns="38100" tIns="38100" rIns="38100" bIns="38100"/>
          <a:lstStyle>
            <a:lvl1pPr defTabSz="643098">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51745139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x">
  <p:cSld name="1_Blank">
    <p:bg>
      <p:bgPr>
        <a:solidFill>
          <a:srgbClr val="000000"/>
        </a:solidFill>
        <a:effectLst/>
      </p:bgPr>
    </p:bg>
    <p:spTree>
      <p:nvGrpSpPr>
        <p:cNvPr id="1" name=""/>
        <p:cNvGrpSpPr/>
        <p:nvPr/>
      </p:nvGrpSpPr>
      <p:grpSpPr>
        <a:xfrm>
          <a:off x="0" y="0"/>
          <a:ext cx="0" cy="0"/>
          <a:chOff x="0" y="0"/>
          <a:chExt cx="0" cy="0"/>
        </a:xfrm>
      </p:grpSpPr>
      <p:sp>
        <p:nvSpPr>
          <p:cNvPr id="648" name="Shape 648"/>
          <p:cNvSpPr>
            <a:spLocks noGrp="1"/>
          </p:cNvSpPr>
          <p:nvPr>
            <p:ph type="sldNum" sz="quarter" idx="2"/>
          </p:nvPr>
        </p:nvSpPr>
        <p:spPr>
          <a:xfrm>
            <a:off x="11193227" y="5542452"/>
            <a:ext cx="387667" cy="293281"/>
          </a:xfrm>
          <a:prstGeom prst="rect">
            <a:avLst/>
          </a:prstGeom>
        </p:spPr>
        <p:txBody>
          <a:bodyPr lIns="48766" tIns="48766" rIns="48766" bIns="48766"/>
          <a:lstStyle>
            <a:lvl1pPr algn="r" defTabSz="914628">
              <a:defRPr>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65745848"/>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55" name="Shape 655"/>
          <p:cNvSpPr>
            <a:spLocks noGrp="1"/>
          </p:cNvSpPr>
          <p:nvPr>
            <p:ph type="title"/>
          </p:nvPr>
        </p:nvSpPr>
        <p:spPr>
          <a:xfrm>
            <a:off x="1523801" y="1699415"/>
            <a:ext cx="9142812" cy="1791116"/>
          </a:xfrm>
          <a:prstGeom prst="rect">
            <a:avLst/>
          </a:prstGeom>
        </p:spPr>
        <p:txBody>
          <a:bodyPr lIns="48766" tIns="48766" rIns="48766" bIns="48766" anchor="b"/>
          <a:lstStyle>
            <a:lvl1pPr defTabSz="914628">
              <a:lnSpc>
                <a:spcPct val="90000"/>
              </a:lnSpc>
              <a:defRPr sz="5908">
                <a:latin typeface="Calibri Light"/>
                <a:ea typeface="Calibri Light"/>
                <a:cs typeface="Calibri Light"/>
                <a:sym typeface="Calibri Light"/>
              </a:defRPr>
            </a:lvl1pPr>
          </a:lstStyle>
          <a:p>
            <a:r>
              <a:t>Title Text</a:t>
            </a:r>
          </a:p>
        </p:txBody>
      </p:sp>
      <p:sp>
        <p:nvSpPr>
          <p:cNvPr id="656" name="Shape 656"/>
          <p:cNvSpPr>
            <a:spLocks noGrp="1"/>
          </p:cNvSpPr>
          <p:nvPr>
            <p:ph type="body" sz="quarter" idx="1"/>
          </p:nvPr>
        </p:nvSpPr>
        <p:spPr>
          <a:xfrm>
            <a:off x="1523801" y="3559602"/>
            <a:ext cx="9142812" cy="1242111"/>
          </a:xfrm>
          <a:prstGeom prst="rect">
            <a:avLst/>
          </a:prstGeom>
        </p:spPr>
        <p:txBody>
          <a:bodyPr lIns="48766" tIns="48766" rIns="48766" bIns="48766" anchor="t"/>
          <a:lstStyle>
            <a:lvl1pPr marL="0" indent="0" algn="ctr" defTabSz="914628">
              <a:lnSpc>
                <a:spcPct val="90000"/>
              </a:lnSpc>
              <a:spcBef>
                <a:spcPts val="985"/>
              </a:spcBef>
              <a:buSzTx/>
              <a:buNone/>
              <a:defRPr sz="2391">
                <a:latin typeface="Calibri"/>
                <a:ea typeface="Calibri"/>
                <a:cs typeface="Calibri"/>
                <a:sym typeface="Calibri"/>
              </a:defRPr>
            </a:lvl1pPr>
            <a:lvl2pPr marL="0" indent="0" algn="ctr" defTabSz="914628">
              <a:lnSpc>
                <a:spcPct val="90000"/>
              </a:lnSpc>
              <a:spcBef>
                <a:spcPts val="985"/>
              </a:spcBef>
              <a:buSzTx/>
              <a:buNone/>
              <a:defRPr sz="2391">
                <a:latin typeface="Calibri"/>
                <a:ea typeface="Calibri"/>
                <a:cs typeface="Calibri"/>
                <a:sym typeface="Calibri"/>
              </a:defRPr>
            </a:lvl2pPr>
            <a:lvl3pPr marL="0" indent="0" algn="ctr" defTabSz="914628">
              <a:lnSpc>
                <a:spcPct val="90000"/>
              </a:lnSpc>
              <a:spcBef>
                <a:spcPts val="985"/>
              </a:spcBef>
              <a:buSzTx/>
              <a:buNone/>
              <a:defRPr sz="2391">
                <a:latin typeface="Calibri"/>
                <a:ea typeface="Calibri"/>
                <a:cs typeface="Calibri"/>
                <a:sym typeface="Calibri"/>
              </a:defRPr>
            </a:lvl3pPr>
            <a:lvl4pPr marL="0" indent="0" algn="ctr" defTabSz="914628">
              <a:lnSpc>
                <a:spcPct val="90000"/>
              </a:lnSpc>
              <a:spcBef>
                <a:spcPts val="985"/>
              </a:spcBef>
              <a:buSzTx/>
              <a:buNone/>
              <a:defRPr sz="2391">
                <a:latin typeface="Calibri"/>
                <a:ea typeface="Calibri"/>
                <a:cs typeface="Calibri"/>
                <a:sym typeface="Calibri"/>
              </a:defRPr>
            </a:lvl4pPr>
            <a:lvl5pPr marL="0" indent="0" algn="ctr" defTabSz="914628">
              <a:lnSpc>
                <a:spcPct val="90000"/>
              </a:lnSpc>
              <a:spcBef>
                <a:spcPts val="985"/>
              </a:spcBef>
              <a:buSzTx/>
              <a:buNone/>
              <a:defRPr sz="2391">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7" name="Shape 657"/>
          <p:cNvSpPr>
            <a:spLocks noGrp="1"/>
          </p:cNvSpPr>
          <p:nvPr>
            <p:ph type="sldNum" sz="quarter" idx="2"/>
          </p:nvPr>
        </p:nvSpPr>
        <p:spPr>
          <a:xfrm>
            <a:off x="10995757" y="5626965"/>
            <a:ext cx="356568" cy="271609"/>
          </a:xfrm>
          <a:prstGeom prst="rect">
            <a:avLst/>
          </a:prstGeom>
        </p:spPr>
        <p:txBody>
          <a:bodyPr lIns="48766" tIns="48766" rIns="48766" bIns="48766" anchor="ctr"/>
          <a:lstStyle>
            <a:lvl1pPr algn="r" defTabSz="914628">
              <a:defRPr sz="1125">
                <a:solidFill>
                  <a:srgbClr val="888888"/>
                </a:solid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66354517"/>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190470" y="1152197"/>
            <a:ext cx="9809473" cy="2322256"/>
          </a:xfrm>
          <a:prstGeom prst="rect">
            <a:avLst/>
          </a:prstGeom>
        </p:spPr>
        <p:txBody>
          <a:bodyPr anchor="b"/>
          <a:lstStyle/>
          <a:p>
            <a:r>
              <a:t>Title Text</a:t>
            </a:r>
          </a:p>
        </p:txBody>
      </p:sp>
      <p:sp>
        <p:nvSpPr>
          <p:cNvPr id="12" name="Shape 12"/>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32409906"/>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05945" y="446588"/>
            <a:ext cx="9166619" cy="4162198"/>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1190470" y="4724898"/>
            <a:ext cx="9809473" cy="1000357"/>
          </a:xfrm>
          <a:prstGeom prst="rect">
            <a:avLst/>
          </a:prstGeom>
        </p:spPr>
        <p:txBody>
          <a:bodyPr anchor="b"/>
          <a:lstStyle/>
          <a:p>
            <a:r>
              <a:t>Title Text</a:t>
            </a:r>
          </a:p>
        </p:txBody>
      </p:sp>
      <p:sp>
        <p:nvSpPr>
          <p:cNvPr id="22" name="Shape 22"/>
          <p:cNvSpPr>
            <a:spLocks noGrp="1"/>
          </p:cNvSpPr>
          <p:nvPr>
            <p:ph type="body" sz="quarter" idx="1"/>
          </p:nvPr>
        </p:nvSpPr>
        <p:spPr>
          <a:xfrm>
            <a:off x="1190470" y="5760982"/>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xfrm>
            <a:off x="5916540" y="6502318"/>
            <a:ext cx="391774" cy="297389"/>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333263892"/>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190470" y="2268666"/>
            <a:ext cx="9809473" cy="2322256"/>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640943895"/>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297586" y="446588"/>
            <a:ext cx="4999974" cy="5787777"/>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92853" y="446588"/>
            <a:ext cx="4999974" cy="2804571"/>
          </a:xfrm>
          <a:prstGeom prst="rect">
            <a:avLst/>
          </a:prstGeom>
        </p:spPr>
        <p:txBody>
          <a:bodyPr anchor="b"/>
          <a:lstStyle>
            <a:lvl1pPr>
              <a:defRPr sz="4220"/>
            </a:lvl1pPr>
          </a:lstStyle>
          <a:p>
            <a:r>
              <a:t>Title Text</a:t>
            </a:r>
          </a:p>
        </p:txBody>
      </p:sp>
      <p:sp>
        <p:nvSpPr>
          <p:cNvPr id="40" name="Shape 40"/>
          <p:cNvSpPr>
            <a:spLocks noGrp="1"/>
          </p:cNvSpPr>
          <p:nvPr>
            <p:ph type="body" sz="quarter" idx="1"/>
          </p:nvPr>
        </p:nvSpPr>
        <p:spPr>
          <a:xfrm>
            <a:off x="892853" y="3349408"/>
            <a:ext cx="4999974" cy="2884957"/>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72995431"/>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316081374"/>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177729580"/>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297586" y="1831010"/>
            <a:ext cx="4999974" cy="4421219"/>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92853" y="1831010"/>
            <a:ext cx="4999974" cy="4421219"/>
          </a:xfrm>
          <a:prstGeom prst="rect">
            <a:avLst/>
          </a:prstGeom>
        </p:spPr>
        <p:txBody>
          <a:bodyPr/>
          <a:lstStyle>
            <a:lvl1pPr marL="241162" indent="-241162">
              <a:spcBef>
                <a:spcPts val="2251"/>
              </a:spcBef>
              <a:defRPr sz="1969"/>
            </a:lvl1pPr>
            <a:lvl2pPr marL="482323" indent="-241162">
              <a:spcBef>
                <a:spcPts val="2251"/>
              </a:spcBef>
              <a:defRPr sz="1969"/>
            </a:lvl2pPr>
            <a:lvl3pPr marL="723485" indent="-241162">
              <a:spcBef>
                <a:spcPts val="2251"/>
              </a:spcBef>
              <a:defRPr sz="1969"/>
            </a:lvl3pPr>
            <a:lvl4pPr marL="964646" indent="-241162">
              <a:spcBef>
                <a:spcPts val="2251"/>
              </a:spcBef>
              <a:defRPr sz="1969"/>
            </a:lvl4pPr>
            <a:lvl5pPr marL="1205808" indent="-241162">
              <a:spcBef>
                <a:spcPts val="2251"/>
              </a:spcBef>
              <a:defRPr sz="1969"/>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634238860"/>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92853" y="893176"/>
            <a:ext cx="10404708" cy="507323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7432340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7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half" idx="13"/>
          </p:nvPr>
        </p:nvSpPr>
        <p:spPr>
          <a:xfrm>
            <a:off x="892853" y="625223"/>
            <a:ext cx="4999974" cy="5609142"/>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6297586" y="3581634"/>
            <a:ext cx="4999974" cy="2652731"/>
          </a:xfrm>
          <a:prstGeom prst="rect">
            <a:avLst/>
          </a:prstGeom>
        </p:spPr>
        <p:txBody>
          <a:bodyPr lIns="91439" tIns="45719" rIns="91439" bIns="45719" anchor="t">
            <a:noAutofit/>
          </a:bodyPr>
          <a:lstStyle/>
          <a:p>
            <a:endParaRPr/>
          </a:p>
        </p:txBody>
      </p:sp>
      <p:sp>
        <p:nvSpPr>
          <p:cNvPr id="85" name="Shape 85"/>
          <p:cNvSpPr>
            <a:spLocks noGrp="1"/>
          </p:cNvSpPr>
          <p:nvPr>
            <p:ph type="pic" sz="quarter" idx="15"/>
          </p:nvPr>
        </p:nvSpPr>
        <p:spPr>
          <a:xfrm>
            <a:off x="6303415" y="625223"/>
            <a:ext cx="4999975" cy="2652731"/>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819837070"/>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0470" y="4474809"/>
            <a:ext cx="9809473" cy="362343"/>
          </a:xfrm>
          <a:prstGeom prst="rect">
            <a:avLst/>
          </a:prstGeom>
        </p:spPr>
        <p:txBody>
          <a:bodyPr anchor="t">
            <a:spAutoFit/>
          </a:bodyPr>
          <a:lstStyle>
            <a:lvl1pPr marL="0" indent="0" algn="ctr">
              <a:spcBef>
                <a:spcPts val="0"/>
              </a:spcBef>
              <a:buSzTx/>
              <a:buNone/>
              <a:defRPr sz="1688"/>
            </a:lvl1pPr>
          </a:lstStyle>
          <a:p>
            <a:r>
              <a:t>–Johnny Appleseed</a:t>
            </a:r>
          </a:p>
        </p:txBody>
      </p:sp>
      <p:sp>
        <p:nvSpPr>
          <p:cNvPr id="94" name="Shape 94"/>
          <p:cNvSpPr>
            <a:spLocks noGrp="1"/>
          </p:cNvSpPr>
          <p:nvPr>
            <p:ph type="body" sz="quarter" idx="14"/>
          </p:nvPr>
        </p:nvSpPr>
        <p:spPr>
          <a:xfrm>
            <a:off x="1190470" y="2985266"/>
            <a:ext cx="9809473" cy="513923"/>
          </a:xfrm>
          <a:prstGeom prst="rect">
            <a:avLst/>
          </a:prstGeom>
        </p:spPr>
        <p:txBody>
          <a:bodyPr>
            <a:spAutoFit/>
          </a:bodyPr>
          <a:lstStyle>
            <a:lvl1pPr marL="0" indent="0" algn="ctr">
              <a:spcBef>
                <a:spcPts val="0"/>
              </a:spcBef>
              <a:buSzTx/>
              <a:buNone/>
              <a:defRPr sz="2673"/>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766266170"/>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85368" cy="6859588"/>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260800844"/>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598017946"/>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type="tx">
  <p:cSld name="Title &amp; Bullets copy">
    <p:spTree>
      <p:nvGrpSpPr>
        <p:cNvPr id="1" name=""/>
        <p:cNvGrpSpPr/>
        <p:nvPr/>
      </p:nvGrpSpPr>
      <p:grpSpPr>
        <a:xfrm>
          <a:off x="0" y="0"/>
          <a:ext cx="0" cy="0"/>
          <a:chOff x="0" y="0"/>
          <a:chExt cx="0" cy="0"/>
        </a:xfrm>
      </p:grpSpPr>
      <p:sp>
        <p:nvSpPr>
          <p:cNvPr id="117" name="Shape 117"/>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118" name="Shape 11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746081210"/>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type="tx">
  <p:cSld name="Title &amp; Bullets copy 10">
    <p:spTree>
      <p:nvGrpSpPr>
        <p:cNvPr id="1" name=""/>
        <p:cNvGrpSpPr/>
        <p:nvPr/>
      </p:nvGrpSpPr>
      <p:grpSpPr>
        <a:xfrm>
          <a:off x="0" y="0"/>
          <a:ext cx="0" cy="0"/>
          <a:chOff x="0" y="0"/>
          <a:chExt cx="0" cy="0"/>
        </a:xfrm>
      </p:grpSpPr>
      <p:sp>
        <p:nvSpPr>
          <p:cNvPr id="126" name="Shape 126"/>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27" name="Shape 127"/>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 name="Shape 128"/>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109455434"/>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35" name="Shape 135"/>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36" name="Shape 136"/>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37" name="Shape 137"/>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74205426"/>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type="tx">
  <p:cSld name="Title &amp; Bullets copy 3">
    <p:spTree>
      <p:nvGrpSpPr>
        <p:cNvPr id="1" name=""/>
        <p:cNvGrpSpPr/>
        <p:nvPr/>
      </p:nvGrpSpPr>
      <p:grpSpPr>
        <a:xfrm>
          <a:off x="0" y="0"/>
          <a:ext cx="0" cy="0"/>
          <a:chOff x="0" y="0"/>
          <a:chExt cx="0" cy="0"/>
        </a:xfrm>
      </p:grpSpPr>
      <p:sp>
        <p:nvSpPr>
          <p:cNvPr id="144" name="Shape 144"/>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45" name="Shape 145"/>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46" name="Shape 146"/>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45052543"/>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type="tx">
  <p:cSld name="Standarddesign copy 1">
    <p:spTree>
      <p:nvGrpSpPr>
        <p:cNvPr id="1" name=""/>
        <p:cNvGrpSpPr/>
        <p:nvPr/>
      </p:nvGrpSpPr>
      <p:grpSpPr>
        <a:xfrm>
          <a:off x="0" y="0"/>
          <a:ext cx="0" cy="0"/>
          <a:chOff x="0" y="0"/>
          <a:chExt cx="0" cy="0"/>
        </a:xfrm>
      </p:grpSpPr>
      <p:sp>
        <p:nvSpPr>
          <p:cNvPr id="153" name="Shape 153"/>
          <p:cNvSpPr>
            <a:spLocks noGrp="1"/>
          </p:cNvSpPr>
          <p:nvPr>
            <p:ph type="title"/>
          </p:nvPr>
        </p:nvSpPr>
        <p:spPr>
          <a:xfrm>
            <a:off x="607140" y="90509"/>
            <a:ext cx="10976134" cy="1510062"/>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54" name="Shape 154"/>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 name="Shape 155"/>
          <p:cNvSpPr>
            <a:spLocks noGrp="1"/>
          </p:cNvSpPr>
          <p:nvPr>
            <p:ph type="sldNum" sz="quarter" idx="2"/>
          </p:nvPr>
        </p:nvSpPr>
        <p:spPr>
          <a:xfrm>
            <a:off x="9984873"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95540047"/>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type="tx">
  <p:cSld name="1_Title &amp; Bullets copy">
    <p:spTree>
      <p:nvGrpSpPr>
        <p:cNvPr id="1" name=""/>
        <p:cNvGrpSpPr/>
        <p:nvPr/>
      </p:nvGrpSpPr>
      <p:grpSpPr>
        <a:xfrm>
          <a:off x="0" y="0"/>
          <a:ext cx="0" cy="0"/>
          <a:chOff x="0" y="0"/>
          <a:chExt cx="0" cy="0"/>
        </a:xfrm>
      </p:grpSpPr>
      <p:sp>
        <p:nvSpPr>
          <p:cNvPr id="162" name="Shape 162"/>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63" name="Shape 163"/>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4" name="Shape 164"/>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56831928"/>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tx">
  <p:cSld name="Title &amp; Bullets copy 9">
    <p:spTree>
      <p:nvGrpSpPr>
        <p:cNvPr id="1" name=""/>
        <p:cNvGrpSpPr/>
        <p:nvPr/>
      </p:nvGrpSpPr>
      <p:grpSpPr>
        <a:xfrm>
          <a:off x="0" y="0"/>
          <a:ext cx="0" cy="0"/>
          <a:chOff x="0" y="0"/>
          <a:chExt cx="0" cy="0"/>
        </a:xfrm>
      </p:grpSpPr>
      <p:sp>
        <p:nvSpPr>
          <p:cNvPr id="171" name="Shape 171"/>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72" name="Shape 17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3" name="Shape 173"/>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25271303"/>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type="tx">
  <p:cSld name="Title &amp; Bullets copy 1">
    <p:spTree>
      <p:nvGrpSpPr>
        <p:cNvPr id="1" name=""/>
        <p:cNvGrpSpPr/>
        <p:nvPr/>
      </p:nvGrpSpPr>
      <p:grpSpPr>
        <a:xfrm>
          <a:off x="0" y="0"/>
          <a:ext cx="0" cy="0"/>
          <a:chOff x="0" y="0"/>
          <a:chExt cx="0" cy="0"/>
        </a:xfrm>
      </p:grpSpPr>
      <p:sp>
        <p:nvSpPr>
          <p:cNvPr id="180" name="Shape 180"/>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81" name="Shape 181"/>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48329540"/>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type="tx">
  <p:cSld name="Title &amp; Bullets copy 7">
    <p:spTree>
      <p:nvGrpSpPr>
        <p:cNvPr id="1" name=""/>
        <p:cNvGrpSpPr/>
        <p:nvPr/>
      </p:nvGrpSpPr>
      <p:grpSpPr>
        <a:xfrm>
          <a:off x="0" y="0"/>
          <a:ext cx="0" cy="0"/>
          <a:chOff x="0" y="0"/>
          <a:chExt cx="0" cy="0"/>
        </a:xfrm>
      </p:grpSpPr>
      <p:sp>
        <p:nvSpPr>
          <p:cNvPr id="189" name="Shape 189"/>
          <p:cNvSpPr>
            <a:spLocks noGrp="1"/>
          </p:cNvSpPr>
          <p:nvPr>
            <p:ph type="title"/>
          </p:nvPr>
        </p:nvSpPr>
        <p:spPr>
          <a:xfrm>
            <a:off x="916662" y="384066"/>
            <a:ext cx="10357089" cy="1598784"/>
          </a:xfrm>
          <a:prstGeom prst="rect">
            <a:avLst/>
          </a:prstGeom>
        </p:spPr>
        <p:txBody>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190" name="Shape 19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9846794" y="6252229"/>
            <a:ext cx="319009" cy="227551"/>
          </a:xfrm>
          <a:prstGeom prst="rect">
            <a:avLst/>
          </a:prstGeom>
        </p:spPr>
        <p:txBody>
          <a:bodyPr>
            <a:normAutofit/>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34124063"/>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type="tx">
  <p:cSld name="2_Title &amp; Bullets">
    <p:spTree>
      <p:nvGrpSpPr>
        <p:cNvPr id="1" name=""/>
        <p:cNvGrpSpPr/>
        <p:nvPr/>
      </p:nvGrpSpPr>
      <p:grpSpPr>
        <a:xfrm>
          <a:off x="0" y="0"/>
          <a:ext cx="0" cy="0"/>
          <a:chOff x="0" y="0"/>
          <a:chExt cx="0" cy="0"/>
        </a:xfrm>
      </p:grpSpPr>
      <p:sp>
        <p:nvSpPr>
          <p:cNvPr id="198" name="Shape 198"/>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99" name="Shape 199"/>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9832493"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985320502"/>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type="tx">
  <p:cSld name="Title &amp; Bullets copy 5">
    <p:spTree>
      <p:nvGrpSpPr>
        <p:cNvPr id="1" name=""/>
        <p:cNvGrpSpPr/>
        <p:nvPr/>
      </p:nvGrpSpPr>
      <p:grpSpPr>
        <a:xfrm>
          <a:off x="0" y="0"/>
          <a:ext cx="0" cy="0"/>
          <a:chOff x="0" y="0"/>
          <a:chExt cx="0" cy="0"/>
        </a:xfrm>
      </p:grpSpPr>
      <p:sp>
        <p:nvSpPr>
          <p:cNvPr id="207" name="Shape 207"/>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08" name="Shape 208"/>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21125510"/>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type="tx">
  <p:cSld name="2_Title &amp; Bullets copy">
    <p:spTree>
      <p:nvGrpSpPr>
        <p:cNvPr id="1" name=""/>
        <p:cNvGrpSpPr/>
        <p:nvPr/>
      </p:nvGrpSpPr>
      <p:grpSpPr>
        <a:xfrm>
          <a:off x="0" y="0"/>
          <a:ext cx="0" cy="0"/>
          <a:chOff x="0" y="0"/>
          <a:chExt cx="0" cy="0"/>
        </a:xfrm>
      </p:grpSpPr>
      <p:sp>
        <p:nvSpPr>
          <p:cNvPr id="216" name="Shape 216"/>
          <p:cNvSpPr>
            <a:spLocks noGrp="1"/>
          </p:cNvSpPr>
          <p:nvPr>
            <p:ph type="title"/>
          </p:nvPr>
        </p:nvSpPr>
        <p:spPr>
          <a:xfrm>
            <a:off x="916662" y="384066"/>
            <a:ext cx="10357089" cy="1598784"/>
          </a:xfrm>
          <a:prstGeom prst="rect">
            <a:avLst/>
          </a:prstGeom>
        </p:spPr>
        <p:txBody>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217" name="Shape 217"/>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8" name="Shape 218"/>
          <p:cNvSpPr>
            <a:spLocks noGrp="1"/>
          </p:cNvSpPr>
          <p:nvPr>
            <p:ph type="sldNum" sz="quarter" idx="2"/>
          </p:nvPr>
        </p:nvSpPr>
        <p:spPr>
          <a:xfrm>
            <a:off x="9831667" y="6252229"/>
            <a:ext cx="345492"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592559773"/>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225" name="Shape 225"/>
          <p:cNvSpPr>
            <a:spLocks noGrp="1"/>
          </p:cNvSpPr>
          <p:nvPr>
            <p:ph type="title"/>
          </p:nvPr>
        </p:nvSpPr>
        <p:spPr>
          <a:xfrm>
            <a:off x="1190470" y="1152197"/>
            <a:ext cx="9809473" cy="2322256"/>
          </a:xfrm>
          <a:prstGeom prst="rect">
            <a:avLst/>
          </a:prstGeom>
        </p:spPr>
        <p:txBody>
          <a:bodyPr anchor="b"/>
          <a:lstStyle>
            <a:lvl1pPr>
              <a:defRPr sz="5908">
                <a:latin typeface="Gill Sans"/>
                <a:ea typeface="Gill Sans"/>
                <a:cs typeface="Gill Sans"/>
                <a:sym typeface="Gill Sans"/>
              </a:defRPr>
            </a:lvl1pPr>
          </a:lstStyle>
          <a:p>
            <a:r>
              <a:t>Title Text</a:t>
            </a:r>
          </a:p>
        </p:txBody>
      </p:sp>
      <p:sp>
        <p:nvSpPr>
          <p:cNvPr id="226" name="Shape 226"/>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a:latin typeface="Gill Sans"/>
                <a:ea typeface="Gill Sans"/>
                <a:cs typeface="Gill Sans"/>
                <a:sym typeface="Gill Sans"/>
              </a:defRPr>
            </a:lvl1pPr>
            <a:lvl2pPr marL="0" indent="0" algn="ctr">
              <a:spcBef>
                <a:spcPts val="0"/>
              </a:spcBef>
              <a:buSzTx/>
              <a:buNone/>
              <a:defRPr>
                <a:latin typeface="Gill Sans"/>
                <a:ea typeface="Gill Sans"/>
                <a:cs typeface="Gill Sans"/>
                <a:sym typeface="Gill Sans"/>
              </a:defRPr>
            </a:lvl2pPr>
            <a:lvl3pPr marL="0" indent="0" algn="ctr">
              <a:spcBef>
                <a:spcPts val="0"/>
              </a:spcBef>
              <a:buSzTx/>
              <a:buNone/>
              <a:defRPr>
                <a:latin typeface="Gill Sans"/>
                <a:ea typeface="Gill Sans"/>
                <a:cs typeface="Gill Sans"/>
                <a:sym typeface="Gill Sans"/>
              </a:defRPr>
            </a:lvl3pPr>
            <a:lvl4pPr marL="0" indent="0" algn="ctr">
              <a:spcBef>
                <a:spcPts val="0"/>
              </a:spcBef>
              <a:buSzTx/>
              <a:buNone/>
              <a:defRPr>
                <a:latin typeface="Gill Sans"/>
                <a:ea typeface="Gill Sans"/>
                <a:cs typeface="Gill Sans"/>
                <a:sym typeface="Gill Sans"/>
              </a:defRPr>
            </a:lvl4pPr>
            <a:lvl5pPr marL="0" indent="0" algn="ctr">
              <a:spcBef>
                <a:spcPts val="0"/>
              </a:spcBef>
              <a:buSzTx/>
              <a:buNone/>
              <a:defRPr>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7" name="Shape 227"/>
          <p:cNvSpPr>
            <a:spLocks noGrp="1"/>
          </p:cNvSpPr>
          <p:nvPr>
            <p:ph type="sldNum" sz="quarter" idx="2"/>
          </p:nvPr>
        </p:nvSpPr>
        <p:spPr>
          <a:xfrm>
            <a:off x="5928541" y="6511249"/>
            <a:ext cx="321427" cy="259021"/>
          </a:xfrm>
          <a:prstGeom prst="rect">
            <a:avLst/>
          </a:prstGeom>
        </p:spPr>
        <p:txBody>
          <a:bodyPr>
            <a:normAutofit/>
          </a:bodyPr>
          <a:lstStyle>
            <a:lvl1pPr>
              <a:defRPr>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478896747"/>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type="tx">
  <p:cSld name="3_Title &amp; Bullets">
    <p:spTree>
      <p:nvGrpSpPr>
        <p:cNvPr id="1" name=""/>
        <p:cNvGrpSpPr/>
        <p:nvPr/>
      </p:nvGrpSpPr>
      <p:grpSpPr>
        <a:xfrm>
          <a:off x="0" y="0"/>
          <a:ext cx="0" cy="0"/>
          <a:chOff x="0" y="0"/>
          <a:chExt cx="0" cy="0"/>
        </a:xfrm>
      </p:grpSpPr>
      <p:sp>
        <p:nvSpPr>
          <p:cNvPr id="234" name="Shape 234"/>
          <p:cNvSpPr>
            <a:spLocks noGrp="1"/>
          </p:cNvSpPr>
          <p:nvPr>
            <p:ph type="title"/>
          </p:nvPr>
        </p:nvSpPr>
        <p:spPr>
          <a:xfrm>
            <a:off x="916662" y="384066"/>
            <a:ext cx="10357089" cy="1598784"/>
          </a:xfrm>
          <a:prstGeom prst="rect">
            <a:avLst/>
          </a:prstGeom>
        </p:spPr>
        <p:txBody>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235" name="Shape 235"/>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36" name="Shape 236"/>
          <p:cNvSpPr>
            <a:spLocks noGrp="1"/>
          </p:cNvSpPr>
          <p:nvPr>
            <p:ph type="sldNum" sz="quarter" idx="2"/>
          </p:nvPr>
        </p:nvSpPr>
        <p:spPr>
          <a:xfrm>
            <a:off x="9833154" y="6252229"/>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87002912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type="tx">
  <p:cSld name="1_Title &amp; Bullets copy 7">
    <p:spTree>
      <p:nvGrpSpPr>
        <p:cNvPr id="1" name=""/>
        <p:cNvGrpSpPr/>
        <p:nvPr/>
      </p:nvGrpSpPr>
      <p:grpSpPr>
        <a:xfrm>
          <a:off x="0" y="0"/>
          <a:ext cx="0" cy="0"/>
          <a:chOff x="0" y="0"/>
          <a:chExt cx="0" cy="0"/>
        </a:xfrm>
      </p:grpSpPr>
      <p:sp>
        <p:nvSpPr>
          <p:cNvPr id="243" name="Shape 24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44" name="Shape 24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5" name="Shape 24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69098106"/>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type="tx">
  <p:cSld name="2_Default - Title and Content copy 1">
    <p:spTree>
      <p:nvGrpSpPr>
        <p:cNvPr id="1" name=""/>
        <p:cNvGrpSpPr/>
        <p:nvPr/>
      </p:nvGrpSpPr>
      <p:grpSpPr>
        <a:xfrm>
          <a:off x="0" y="0"/>
          <a:ext cx="0" cy="0"/>
          <a:chOff x="0" y="0"/>
          <a:chExt cx="0" cy="0"/>
        </a:xfrm>
      </p:grpSpPr>
      <p:sp>
        <p:nvSpPr>
          <p:cNvPr id="252" name="Shape 252"/>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53" name="Shape 253"/>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434314"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706737"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71345"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237070"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54" name="Shape 254"/>
          <p:cNvSpPr>
            <a:spLocks noGrp="1"/>
          </p:cNvSpPr>
          <p:nvPr>
            <p:ph type="sldNum" sz="quarter" idx="2"/>
          </p:nvPr>
        </p:nvSpPr>
        <p:spPr>
          <a:xfrm>
            <a:off x="9603708"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90468906"/>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x">
  <p:cSld name="Title &amp; Bullets copy 2">
    <p:spTree>
      <p:nvGrpSpPr>
        <p:cNvPr id="1" name=""/>
        <p:cNvGrpSpPr/>
        <p:nvPr/>
      </p:nvGrpSpPr>
      <p:grpSpPr>
        <a:xfrm>
          <a:off x="0" y="0"/>
          <a:ext cx="0" cy="0"/>
          <a:chOff x="0" y="0"/>
          <a:chExt cx="0" cy="0"/>
        </a:xfrm>
      </p:grpSpPr>
      <p:sp>
        <p:nvSpPr>
          <p:cNvPr id="261" name="Shape 261"/>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262" name="Shape 262"/>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63" name="Shape 263"/>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01586965"/>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70" name="Shape 270"/>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64309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71" name="Shape 271"/>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72" name="Shape 272"/>
          <p:cNvSpPr>
            <a:spLocks noGrp="1"/>
          </p:cNvSpPr>
          <p:nvPr>
            <p:ph type="sldNum" sz="quarter" idx="2"/>
          </p:nvPr>
        </p:nvSpPr>
        <p:spPr>
          <a:xfrm>
            <a:off x="9581486" y="6527724"/>
            <a:ext cx="327047" cy="265042"/>
          </a:xfrm>
          <a:prstGeom prst="rect">
            <a:avLst/>
          </a:prstGeom>
        </p:spPr>
        <p:txBody>
          <a:bodyPr lIns="72248" tIns="72248" rIns="72248" bIns="72248"/>
          <a:lstStyle>
            <a:lvl1pPr>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21549572"/>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type="tx">
  <p:cSld name="1_Title &amp; Bullets copy 5">
    <p:spTree>
      <p:nvGrpSpPr>
        <p:cNvPr id="1" name=""/>
        <p:cNvGrpSpPr/>
        <p:nvPr/>
      </p:nvGrpSpPr>
      <p:grpSpPr>
        <a:xfrm>
          <a:off x="0" y="0"/>
          <a:ext cx="0" cy="0"/>
          <a:chOff x="0" y="0"/>
          <a:chExt cx="0" cy="0"/>
        </a:xfrm>
      </p:grpSpPr>
      <p:sp>
        <p:nvSpPr>
          <p:cNvPr id="279" name="Shape 279"/>
          <p:cNvSpPr>
            <a:spLocks noGrp="1"/>
          </p:cNvSpPr>
          <p:nvPr>
            <p:ph type="title"/>
          </p:nvPr>
        </p:nvSpPr>
        <p:spPr>
          <a:xfrm>
            <a:off x="916662" y="384066"/>
            <a:ext cx="10357089" cy="1598784"/>
          </a:xfrm>
          <a:prstGeom prst="rect">
            <a:avLst/>
          </a:prstGeom>
        </p:spPr>
        <p:txBody>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80" name="Shape 28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81" name="Shape 281"/>
          <p:cNvSpPr>
            <a:spLocks noGrp="1"/>
          </p:cNvSpPr>
          <p:nvPr>
            <p:ph type="sldNum" sz="quarter" idx="2"/>
          </p:nvPr>
        </p:nvSpPr>
        <p:spPr>
          <a:xfrm>
            <a:off x="9833551"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05887483"/>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type="tx">
  <p:cSld name="1_Title &amp; Bullets copy 2">
    <p:spTree>
      <p:nvGrpSpPr>
        <p:cNvPr id="1" name=""/>
        <p:cNvGrpSpPr/>
        <p:nvPr/>
      </p:nvGrpSpPr>
      <p:grpSpPr>
        <a:xfrm>
          <a:off x="0" y="0"/>
          <a:ext cx="0" cy="0"/>
          <a:chOff x="0" y="0"/>
          <a:chExt cx="0" cy="0"/>
        </a:xfrm>
      </p:grpSpPr>
      <p:sp>
        <p:nvSpPr>
          <p:cNvPr id="288" name="Shape 288"/>
          <p:cNvSpPr>
            <a:spLocks noGrp="1"/>
          </p:cNvSpPr>
          <p:nvPr>
            <p:ph type="title"/>
          </p:nvPr>
        </p:nvSpPr>
        <p:spPr>
          <a:xfrm>
            <a:off x="916662" y="0"/>
            <a:ext cx="10357089" cy="2366915"/>
          </a:xfrm>
          <a:prstGeom prst="rect">
            <a:avLst/>
          </a:prstGeom>
        </p:spPr>
        <p:txBody>
          <a:bodyPr>
            <a:noAutofit/>
          </a:bodyPr>
          <a:lstStyle>
            <a:lvl1pPr marL="40650" marR="40650" defTabSz="911055">
              <a:defRPr sz="4079">
                <a:uFill>
                  <a:solidFill>
                    <a:srgbClr val="000000"/>
                  </a:solidFill>
                </a:uFill>
                <a:latin typeface="Times"/>
                <a:ea typeface="Times"/>
                <a:cs typeface="Times"/>
                <a:sym typeface="Times"/>
              </a:defRPr>
            </a:lvl1pPr>
          </a:lstStyle>
          <a:p>
            <a:r>
              <a:t>Title Text</a:t>
            </a:r>
          </a:p>
        </p:txBody>
      </p:sp>
      <p:sp>
        <p:nvSpPr>
          <p:cNvPr id="289" name="Shape 289"/>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Times"/>
                <a:ea typeface="Times"/>
                <a:cs typeface="Times"/>
                <a:sym typeface="Times"/>
              </a:defRPr>
            </a:lvl1pPr>
            <a:lvl2pPr marL="551099" marR="40650" indent="-200968" defTabSz="911055">
              <a:spcBef>
                <a:spcPts val="633"/>
              </a:spcBef>
              <a:buSzPct val="100000"/>
              <a:buChar char="–"/>
              <a:defRPr>
                <a:uFill>
                  <a:solidFill>
                    <a:srgbClr val="000000"/>
                  </a:solidFill>
                </a:uFill>
                <a:latin typeface="Times"/>
                <a:ea typeface="Times"/>
                <a:cs typeface="Times"/>
                <a:sym typeface="Times"/>
              </a:defRPr>
            </a:lvl2pPr>
            <a:lvl3pPr marL="832453" marR="40650" indent="-160774" defTabSz="911055">
              <a:spcBef>
                <a:spcPts val="563"/>
              </a:spcBef>
              <a:buSzPct val="100000"/>
              <a:defRPr sz="2110">
                <a:uFill>
                  <a:solidFill>
                    <a:srgbClr val="000000"/>
                  </a:solidFill>
                </a:uFill>
                <a:latin typeface="Times"/>
                <a:ea typeface="Times"/>
                <a:cs typeface="Times"/>
                <a:sym typeface="Times"/>
              </a:defRPr>
            </a:lvl3pPr>
            <a:lvl4pPr marL="1154002" marR="40650" indent="-160774" defTabSz="911055">
              <a:spcBef>
                <a:spcPts val="422"/>
              </a:spcBef>
              <a:buSzPct val="100000"/>
              <a:buChar char="–"/>
              <a:defRPr sz="1688">
                <a:uFill>
                  <a:solidFill>
                    <a:srgbClr val="000000"/>
                  </a:solidFill>
                </a:uFill>
                <a:latin typeface="Times"/>
                <a:ea typeface="Times"/>
                <a:cs typeface="Times"/>
                <a:sym typeface="Times"/>
              </a:defRPr>
            </a:lvl4pPr>
            <a:lvl5pPr marL="1475551" marR="40650" indent="-160774" defTabSz="911055">
              <a:spcBef>
                <a:spcPts val="422"/>
              </a:spcBef>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290" name="Shape 290"/>
          <p:cNvSpPr>
            <a:spLocks noGrp="1"/>
          </p:cNvSpPr>
          <p:nvPr>
            <p:ph type="sldNum" sz="quarter" idx="2"/>
          </p:nvPr>
        </p:nvSpPr>
        <p:spPr>
          <a:xfrm>
            <a:off x="9860134" y="6252229"/>
            <a:ext cx="355867" cy="275717"/>
          </a:xfrm>
          <a:prstGeom prst="rect">
            <a:avLst/>
          </a:prstGeom>
        </p:spPr>
        <p:txBody>
          <a:bodyPr/>
          <a:lstStyle>
            <a:lvl1pPr defTabSz="455527">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879784680"/>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type="tx">
  <p:cSld name="2_Default - Titel og indholdsobjekt">
    <p:spTree>
      <p:nvGrpSpPr>
        <p:cNvPr id="1" name=""/>
        <p:cNvGrpSpPr/>
        <p:nvPr/>
      </p:nvGrpSpPr>
      <p:grpSpPr>
        <a:xfrm>
          <a:off x="0" y="0"/>
          <a:ext cx="0" cy="0"/>
          <a:chOff x="0" y="0"/>
          <a:chExt cx="0" cy="0"/>
        </a:xfrm>
      </p:grpSpPr>
      <p:sp>
        <p:nvSpPr>
          <p:cNvPr id="297" name="Shape 297"/>
          <p:cNvSpPr>
            <a:spLocks noGrp="1"/>
          </p:cNvSpPr>
          <p:nvPr>
            <p:ph type="title"/>
          </p:nvPr>
        </p:nvSpPr>
        <p:spPr>
          <a:xfrm>
            <a:off x="916662" y="384066"/>
            <a:ext cx="10357089" cy="1598784"/>
          </a:xfrm>
          <a:prstGeom prst="rect">
            <a:avLst/>
          </a:prstGeom>
        </p:spPr>
        <p:txBody>
          <a:bodyPr>
            <a:noAutofit/>
          </a:bodyPr>
          <a:lstStyle>
            <a:lvl1pPr defTabSz="643098">
              <a:defRPr sz="4360">
                <a:uFill>
                  <a:solidFill>
                    <a:srgbClr val="000000"/>
                  </a:solidFill>
                </a:uFill>
                <a:latin typeface="Arial"/>
                <a:ea typeface="Arial"/>
                <a:cs typeface="Arial"/>
                <a:sym typeface="Arial"/>
              </a:defRPr>
            </a:lvl1pPr>
          </a:lstStyle>
          <a:p>
            <a:r>
              <a:t>Title Text</a:t>
            </a:r>
          </a:p>
        </p:txBody>
      </p:sp>
      <p:sp>
        <p:nvSpPr>
          <p:cNvPr id="298" name="Shape 298"/>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99" name="Shape 299"/>
          <p:cNvSpPr>
            <a:spLocks noGrp="1"/>
          </p:cNvSpPr>
          <p:nvPr>
            <p:ph type="sldNum" sz="quarter" idx="2"/>
          </p:nvPr>
        </p:nvSpPr>
        <p:spPr>
          <a:xfrm>
            <a:off x="9831667" y="6270092"/>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65152302"/>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type="tx">
  <p:cSld name="4_Title &amp; Bullets">
    <p:spTree>
      <p:nvGrpSpPr>
        <p:cNvPr id="1" name=""/>
        <p:cNvGrpSpPr/>
        <p:nvPr/>
      </p:nvGrpSpPr>
      <p:grpSpPr>
        <a:xfrm>
          <a:off x="0" y="0"/>
          <a:ext cx="0" cy="0"/>
          <a:chOff x="0" y="0"/>
          <a:chExt cx="0" cy="0"/>
        </a:xfrm>
      </p:grpSpPr>
      <p:sp>
        <p:nvSpPr>
          <p:cNvPr id="306" name="Shape 306"/>
          <p:cNvSpPr>
            <a:spLocks noGrp="1"/>
          </p:cNvSpPr>
          <p:nvPr>
            <p:ph type="title"/>
          </p:nvPr>
        </p:nvSpPr>
        <p:spPr>
          <a:xfrm>
            <a:off x="916662" y="384066"/>
            <a:ext cx="10357089" cy="1598784"/>
          </a:xfrm>
          <a:prstGeom prst="rect">
            <a:avLst/>
          </a:prstGeom>
        </p:spPr>
        <p:txBody>
          <a:bodyPr>
            <a:noAutofit/>
          </a:bodyPr>
          <a:lstStyle>
            <a:lvl1pPr marL="4466" marR="40650" defTabSz="643098">
              <a:defRPr sz="4360">
                <a:uFill>
                  <a:solidFill>
                    <a:srgbClr val="000000"/>
                  </a:solidFill>
                </a:uFill>
                <a:latin typeface="Times"/>
                <a:ea typeface="Times"/>
                <a:cs typeface="Times"/>
                <a:sym typeface="Times"/>
              </a:defRPr>
            </a:lvl1pPr>
          </a:lstStyle>
          <a:p>
            <a:r>
              <a:t>Title Text</a:t>
            </a:r>
          </a:p>
        </p:txBody>
      </p:sp>
      <p:sp>
        <p:nvSpPr>
          <p:cNvPr id="307" name="Shape 307"/>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514701" marR="40650"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96056" marR="40650"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117605"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39154"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9846675" y="6252229"/>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863358998"/>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type="tx">
  <p:cSld name="5_Title &amp; Bullets">
    <p:spTree>
      <p:nvGrpSpPr>
        <p:cNvPr id="1" name=""/>
        <p:cNvGrpSpPr/>
        <p:nvPr/>
      </p:nvGrpSpPr>
      <p:grpSpPr>
        <a:xfrm>
          <a:off x="0" y="0"/>
          <a:ext cx="0" cy="0"/>
          <a:chOff x="0" y="0"/>
          <a:chExt cx="0" cy="0"/>
        </a:xfrm>
      </p:grpSpPr>
      <p:sp>
        <p:nvSpPr>
          <p:cNvPr id="315" name="Shape 315"/>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16" name="Shape 31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17" name="Shape 317"/>
          <p:cNvSpPr>
            <a:spLocks noGrp="1"/>
          </p:cNvSpPr>
          <p:nvPr>
            <p:ph type="sldNum" sz="quarter" idx="2"/>
          </p:nvPr>
        </p:nvSpPr>
        <p:spPr>
          <a:xfrm>
            <a:off x="9831435" y="6252229"/>
            <a:ext cx="391774" cy="297389"/>
          </a:xfrm>
          <a:prstGeom prst="rect">
            <a:avLst/>
          </a:prstGeom>
        </p:spPr>
        <p:txBody>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075463219"/>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type="tx">
  <p:cSld name="Standarddesign">
    <p:spTree>
      <p:nvGrpSpPr>
        <p:cNvPr id="1" name=""/>
        <p:cNvGrpSpPr/>
        <p:nvPr/>
      </p:nvGrpSpPr>
      <p:grpSpPr>
        <a:xfrm>
          <a:off x="0" y="0"/>
          <a:ext cx="0" cy="0"/>
          <a:chOff x="0" y="0"/>
          <a:chExt cx="0" cy="0"/>
        </a:xfrm>
      </p:grpSpPr>
      <p:sp>
        <p:nvSpPr>
          <p:cNvPr id="324" name="Shape 324"/>
          <p:cNvSpPr>
            <a:spLocks noGrp="1"/>
          </p:cNvSpPr>
          <p:nvPr>
            <p:ph type="title"/>
          </p:nvPr>
        </p:nvSpPr>
        <p:spPr>
          <a:xfrm>
            <a:off x="607140" y="92097"/>
            <a:ext cx="10976134" cy="150847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325" name="Shape 325"/>
          <p:cNvSpPr>
            <a:spLocks noGrp="1"/>
          </p:cNvSpPr>
          <p:nvPr>
            <p:ph type="body" idx="1"/>
          </p:nvPr>
        </p:nvSpPr>
        <p:spPr>
          <a:xfrm>
            <a:off x="607140" y="1598784"/>
            <a:ext cx="10976134" cy="5260804"/>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26" name="Shape 326"/>
          <p:cNvSpPr>
            <a:spLocks noGrp="1"/>
          </p:cNvSpPr>
          <p:nvPr>
            <p:ph type="sldNum" sz="quarter" idx="2"/>
          </p:nvPr>
        </p:nvSpPr>
        <p:spPr>
          <a:xfrm>
            <a:off x="9985932"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98030954"/>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type="tx">
  <p:cSld name="Default - Titel og indholdsobjekt copy 1">
    <p:spTree>
      <p:nvGrpSpPr>
        <p:cNvPr id="1" name=""/>
        <p:cNvGrpSpPr/>
        <p:nvPr/>
      </p:nvGrpSpPr>
      <p:grpSpPr>
        <a:xfrm>
          <a:off x="0" y="0"/>
          <a:ext cx="0" cy="0"/>
          <a:chOff x="0" y="0"/>
          <a:chExt cx="0" cy="0"/>
        </a:xfrm>
      </p:grpSpPr>
      <p:sp>
        <p:nvSpPr>
          <p:cNvPr id="333" name="Shape 333"/>
          <p:cNvSpPr>
            <a:spLocks noGrp="1"/>
          </p:cNvSpPr>
          <p:nvPr>
            <p:ph type="title"/>
          </p:nvPr>
        </p:nvSpPr>
        <p:spPr>
          <a:xfrm>
            <a:off x="916662" y="384066"/>
            <a:ext cx="10357089" cy="1598784"/>
          </a:xfrm>
          <a:prstGeom prst="rect">
            <a:avLst/>
          </a:prstGeom>
        </p:spPr>
        <p:txBody>
          <a:bodyPr/>
          <a:lstStyle>
            <a:lvl1pPr marL="4466" defTabSz="643098">
              <a:defRPr sz="4360">
                <a:uFill>
                  <a:solidFill>
                    <a:srgbClr val="000000"/>
                  </a:solidFill>
                </a:uFill>
                <a:latin typeface="Times"/>
                <a:ea typeface="Times"/>
                <a:cs typeface="Times"/>
                <a:sym typeface="Times"/>
              </a:defRPr>
            </a:lvl1pPr>
          </a:lstStyle>
          <a:p>
            <a:r>
              <a:t>Title Text</a:t>
            </a:r>
          </a:p>
        </p:txBody>
      </p:sp>
      <p:sp>
        <p:nvSpPr>
          <p:cNvPr id="334" name="Shape 334"/>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sz="2673">
                <a:uFill>
                  <a:solidFill>
                    <a:srgbClr val="000000"/>
                  </a:solidFill>
                </a:uFill>
                <a:latin typeface="Times"/>
                <a:ea typeface="Times"/>
                <a:cs typeface="Times"/>
                <a:sym typeface="Times"/>
              </a:defRPr>
            </a:lvl2pPr>
            <a:lvl3pPr marL="724601" indent="-160774" defTabSz="643098">
              <a:spcBef>
                <a:spcPts val="563"/>
              </a:spcBef>
              <a:buClr>
                <a:srgbClr val="000000"/>
              </a:buClr>
              <a:buSzPct val="100000"/>
              <a:defRPr sz="2391">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35" name="Shape 335"/>
          <p:cNvSpPr>
            <a:spLocks noGrp="1"/>
          </p:cNvSpPr>
          <p:nvPr>
            <p:ph type="sldNum" sz="quarter" idx="2"/>
          </p:nvPr>
        </p:nvSpPr>
        <p:spPr>
          <a:xfrm>
            <a:off x="9858581" y="6270092"/>
            <a:ext cx="297618" cy="259021"/>
          </a:xfrm>
          <a:prstGeom prst="rect">
            <a:avLst/>
          </a:prstGeom>
        </p:spPr>
        <p:txBody>
          <a:bodyPr lIns="38100" tIns="38100" rIns="38100" bIns="38100">
            <a:normAutofit/>
          </a:bodyPr>
          <a:lstStyle>
            <a:lvl1pPr defTabSz="643098">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177407830"/>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type="tx">
  <p:cSld name="Default - Titel og indholdsobjekt copy 4">
    <p:spTree>
      <p:nvGrpSpPr>
        <p:cNvPr id="1" name=""/>
        <p:cNvGrpSpPr/>
        <p:nvPr/>
      </p:nvGrpSpPr>
      <p:grpSpPr>
        <a:xfrm>
          <a:off x="0" y="0"/>
          <a:ext cx="0" cy="0"/>
          <a:chOff x="0" y="0"/>
          <a:chExt cx="0" cy="0"/>
        </a:xfrm>
      </p:grpSpPr>
      <p:sp>
        <p:nvSpPr>
          <p:cNvPr id="342" name="Shape 342"/>
          <p:cNvSpPr>
            <a:spLocks noGrp="1"/>
          </p:cNvSpPr>
          <p:nvPr>
            <p:ph type="title"/>
          </p:nvPr>
        </p:nvSpPr>
        <p:spPr>
          <a:xfrm>
            <a:off x="916662" y="0"/>
            <a:ext cx="10357089" cy="2366915"/>
          </a:xfrm>
          <a:prstGeom prst="rect">
            <a:avLst/>
          </a:prstGeom>
        </p:spPr>
        <p:txBody>
          <a:bodyPr/>
          <a:lstStyle>
            <a:lvl1pPr marL="4466" defTabSz="643098">
              <a:defRPr sz="4360">
                <a:uFill>
                  <a:solidFill>
                    <a:srgbClr val="000000"/>
                  </a:solidFill>
                </a:uFill>
                <a:latin typeface="Arial"/>
                <a:ea typeface="Arial"/>
                <a:cs typeface="Arial"/>
                <a:sym typeface="Arial"/>
              </a:defRPr>
            </a:lvl1pPr>
          </a:lstStyle>
          <a:p>
            <a:r>
              <a:t>Title Text</a:t>
            </a:r>
          </a:p>
        </p:txBody>
      </p:sp>
      <p:sp>
        <p:nvSpPr>
          <p:cNvPr id="343" name="Shape 343"/>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Arial"/>
                <a:ea typeface="Arial"/>
                <a:cs typeface="Arial"/>
                <a:sym typeface="Arial"/>
              </a:defRPr>
            </a:lvl1pPr>
            <a:lvl2pPr marL="443246" indent="-200967" defTabSz="643098">
              <a:spcBef>
                <a:spcPts val="633"/>
              </a:spcBef>
              <a:buClr>
                <a:srgbClr val="000000"/>
              </a:buClr>
              <a:buSzPct val="100000"/>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44" name="Shape 344"/>
          <p:cNvSpPr>
            <a:spLocks noGrp="1"/>
          </p:cNvSpPr>
          <p:nvPr>
            <p:ph type="sldNum" sz="quarter" idx="2"/>
          </p:nvPr>
        </p:nvSpPr>
        <p:spPr>
          <a:xfrm>
            <a:off x="9843571" y="6270092"/>
            <a:ext cx="321684" cy="235898"/>
          </a:xfrm>
          <a:prstGeom prst="rect">
            <a:avLst/>
          </a:prstGeom>
        </p:spPr>
        <p:txBody>
          <a:bodyPr lIns="38100" tIns="38100" rIns="38100" bIns="38100">
            <a:normAutofit/>
          </a:bodyPr>
          <a:lstStyle>
            <a:lvl1pPr defTabSz="643098">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6356897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x">
  <p:cSld name="1_Default - Titel og indholdsobjekt">
    <p:spTree>
      <p:nvGrpSpPr>
        <p:cNvPr id="1" name=""/>
        <p:cNvGrpSpPr/>
        <p:nvPr/>
      </p:nvGrpSpPr>
      <p:grpSpPr>
        <a:xfrm>
          <a:off x="0" y="0"/>
          <a:ext cx="0" cy="0"/>
          <a:chOff x="0" y="0"/>
          <a:chExt cx="0" cy="0"/>
        </a:xfrm>
      </p:grpSpPr>
      <p:sp>
        <p:nvSpPr>
          <p:cNvPr id="351" name="Shape 351"/>
          <p:cNvSpPr>
            <a:spLocks noGrp="1"/>
          </p:cNvSpPr>
          <p:nvPr>
            <p:ph type="title"/>
          </p:nvPr>
        </p:nvSpPr>
        <p:spPr>
          <a:xfrm>
            <a:off x="916662" y="384066"/>
            <a:ext cx="10357089" cy="1598784"/>
          </a:xfrm>
          <a:prstGeom prst="rect">
            <a:avLst/>
          </a:prstGeom>
        </p:spPr>
        <p:txBody>
          <a:bodyPr/>
          <a:lstStyle>
            <a:lvl1pPr marL="4466" indent="-4466" defTabSz="643098">
              <a:defRPr sz="4360">
                <a:uFill>
                  <a:solidFill>
                    <a:srgbClr val="000000"/>
                  </a:solidFill>
                </a:uFill>
                <a:latin typeface="Arial"/>
                <a:ea typeface="Arial"/>
                <a:cs typeface="Arial"/>
                <a:sym typeface="Arial"/>
              </a:defRPr>
            </a:lvl1pPr>
          </a:lstStyle>
          <a:p>
            <a:r>
              <a:t>Title Text</a:t>
            </a:r>
          </a:p>
        </p:txBody>
      </p:sp>
      <p:sp>
        <p:nvSpPr>
          <p:cNvPr id="352" name="Shape 352"/>
          <p:cNvSpPr>
            <a:spLocks noGrp="1"/>
          </p:cNvSpPr>
          <p:nvPr>
            <p:ph type="body" idx="1"/>
          </p:nvPr>
        </p:nvSpPr>
        <p:spPr>
          <a:xfrm>
            <a:off x="916662" y="1982850"/>
            <a:ext cx="10357089" cy="4876738"/>
          </a:xfrm>
          <a:prstGeom prst="rect">
            <a:avLst/>
          </a:prstGeom>
        </p:spPr>
        <p:txBody>
          <a:bodyPr anchor="t"/>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78973"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81877"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53" name="Shape 353"/>
          <p:cNvSpPr>
            <a:spLocks noGrp="1"/>
          </p:cNvSpPr>
          <p:nvPr>
            <p:ph type="sldNum" sz="quarter" idx="2"/>
          </p:nvPr>
        </p:nvSpPr>
        <p:spPr>
          <a:xfrm>
            <a:off x="9832410" y="6270092"/>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32700389"/>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type="tx">
  <p:cSld name="6_Title &amp; Bullets">
    <p:spTree>
      <p:nvGrpSpPr>
        <p:cNvPr id="1" name=""/>
        <p:cNvGrpSpPr/>
        <p:nvPr/>
      </p:nvGrpSpPr>
      <p:grpSpPr>
        <a:xfrm>
          <a:off x="0" y="0"/>
          <a:ext cx="0" cy="0"/>
          <a:chOff x="0" y="0"/>
          <a:chExt cx="0" cy="0"/>
        </a:xfrm>
      </p:grpSpPr>
      <p:sp>
        <p:nvSpPr>
          <p:cNvPr id="360" name="Shape 360"/>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61" name="Shape 361"/>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2" name="Shape 362"/>
          <p:cNvSpPr>
            <a:spLocks noGrp="1"/>
          </p:cNvSpPr>
          <p:nvPr>
            <p:ph type="sldNum" sz="quarter" idx="2"/>
          </p:nvPr>
        </p:nvSpPr>
        <p:spPr>
          <a:xfrm>
            <a:off x="9832493" y="6252229"/>
            <a:ext cx="345493" cy="253762"/>
          </a:xfrm>
          <a:prstGeom prst="rect">
            <a:avLst/>
          </a:prstGeom>
        </p:spPr>
        <p:txBody>
          <a:bodyPr>
            <a:normAutofit/>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43134563"/>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type="tx">
  <p:cSld name="7_Title &amp; Bullets">
    <p:spTree>
      <p:nvGrpSpPr>
        <p:cNvPr id="1" name=""/>
        <p:cNvGrpSpPr/>
        <p:nvPr/>
      </p:nvGrpSpPr>
      <p:grpSpPr>
        <a:xfrm>
          <a:off x="0" y="0"/>
          <a:ext cx="0" cy="0"/>
          <a:chOff x="0" y="0"/>
          <a:chExt cx="0" cy="0"/>
        </a:xfrm>
      </p:grpSpPr>
      <p:sp>
        <p:nvSpPr>
          <p:cNvPr id="369" name="Shape 369"/>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70" name="Shape 370"/>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71" name="Shape 371"/>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502610389"/>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type="tx">
  <p:cSld name="3_Title &amp; Bullets copy">
    <p:spTree>
      <p:nvGrpSpPr>
        <p:cNvPr id="1" name=""/>
        <p:cNvGrpSpPr/>
        <p:nvPr/>
      </p:nvGrpSpPr>
      <p:grpSpPr>
        <a:xfrm>
          <a:off x="0" y="0"/>
          <a:ext cx="0" cy="0"/>
          <a:chOff x="0" y="0"/>
          <a:chExt cx="0" cy="0"/>
        </a:xfrm>
      </p:grpSpPr>
      <p:sp>
        <p:nvSpPr>
          <p:cNvPr id="378" name="Shape 378"/>
          <p:cNvSpPr>
            <a:spLocks noGrp="1"/>
          </p:cNvSpPr>
          <p:nvPr>
            <p:ph type="title"/>
          </p:nvPr>
        </p:nvSpPr>
        <p:spPr>
          <a:xfrm>
            <a:off x="916662" y="384066"/>
            <a:ext cx="10357089" cy="1598784"/>
          </a:xfrm>
          <a:prstGeom prst="rect">
            <a:avLst/>
          </a:prstGeom>
        </p:spPr>
        <p:txBody>
          <a:bodyPr>
            <a:noAutofit/>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379" name="Shape 379"/>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0" name="Shape 380"/>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18022514"/>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type="tx">
  <p:cSld name="2_Title &amp; Bullets copy 2">
    <p:spTree>
      <p:nvGrpSpPr>
        <p:cNvPr id="1" name=""/>
        <p:cNvGrpSpPr/>
        <p:nvPr/>
      </p:nvGrpSpPr>
      <p:grpSpPr>
        <a:xfrm>
          <a:off x="0" y="0"/>
          <a:ext cx="0" cy="0"/>
          <a:chOff x="0" y="0"/>
          <a:chExt cx="0" cy="0"/>
        </a:xfrm>
      </p:grpSpPr>
      <p:sp>
        <p:nvSpPr>
          <p:cNvPr id="387" name="Shape 387"/>
          <p:cNvSpPr>
            <a:spLocks noGrp="1"/>
          </p:cNvSpPr>
          <p:nvPr>
            <p:ph type="title"/>
          </p:nvPr>
        </p:nvSpPr>
        <p:spPr>
          <a:xfrm>
            <a:off x="916662" y="0"/>
            <a:ext cx="10357089" cy="2366915"/>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88" name="Shape 38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9" name="Shape 38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73331683"/>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type="tx">
  <p:cSld name="Office Theme copy 1">
    <p:spTree>
      <p:nvGrpSpPr>
        <p:cNvPr id="1" name=""/>
        <p:cNvGrpSpPr/>
        <p:nvPr/>
      </p:nvGrpSpPr>
      <p:grpSpPr>
        <a:xfrm>
          <a:off x="0" y="0"/>
          <a:ext cx="0" cy="0"/>
          <a:chOff x="0" y="0"/>
          <a:chExt cx="0" cy="0"/>
        </a:xfrm>
      </p:grpSpPr>
      <p:sp>
        <p:nvSpPr>
          <p:cNvPr id="396" name="Shape 396"/>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397" name="Shape 397"/>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8" name="Shape 398"/>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789798889"/>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405" name="Shape 405"/>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06" name="Shape 406"/>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07" name="Shape 40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580131610"/>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type="tx">
  <p:cSld name="1_Default">
    <p:spTree>
      <p:nvGrpSpPr>
        <p:cNvPr id="1" name=""/>
        <p:cNvGrpSpPr/>
        <p:nvPr/>
      </p:nvGrpSpPr>
      <p:grpSpPr>
        <a:xfrm>
          <a:off x="0" y="0"/>
          <a:ext cx="0" cy="0"/>
          <a:chOff x="0" y="0"/>
          <a:chExt cx="0" cy="0"/>
        </a:xfrm>
      </p:grpSpPr>
      <p:sp>
        <p:nvSpPr>
          <p:cNvPr id="414" name="Shape 414"/>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15" name="Shape 415"/>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16" name="Shape 416"/>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48149228"/>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type="tx">
  <p:cSld name="8_Title &amp; Bullets">
    <p:spTree>
      <p:nvGrpSpPr>
        <p:cNvPr id="1" name=""/>
        <p:cNvGrpSpPr/>
        <p:nvPr/>
      </p:nvGrpSpPr>
      <p:grpSpPr>
        <a:xfrm>
          <a:off x="0" y="0"/>
          <a:ext cx="0" cy="0"/>
          <a:chOff x="0" y="0"/>
          <a:chExt cx="0" cy="0"/>
        </a:xfrm>
      </p:grpSpPr>
      <p:sp>
        <p:nvSpPr>
          <p:cNvPr id="423" name="Shape 423"/>
          <p:cNvSpPr>
            <a:spLocks noGrp="1"/>
          </p:cNvSpPr>
          <p:nvPr>
            <p:ph type="title"/>
          </p:nvPr>
        </p:nvSpPr>
        <p:spPr>
          <a:xfrm>
            <a:off x="916662" y="384066"/>
            <a:ext cx="10357089" cy="1598784"/>
          </a:xfrm>
          <a:prstGeom prst="rect">
            <a:avLst/>
          </a:prstGeom>
        </p:spPr>
        <p:txBody>
          <a:bodyPr/>
          <a:lstStyle>
            <a:lvl1pPr marL="4466" marR="40650" indent="-4466" defTabSz="652029">
              <a:defRPr sz="4079">
                <a:uFill>
                  <a:solidFill>
                    <a:srgbClr val="000000"/>
                  </a:solidFill>
                </a:uFill>
                <a:latin typeface="Arial"/>
                <a:ea typeface="Arial"/>
                <a:cs typeface="Arial"/>
                <a:sym typeface="Arial"/>
              </a:defRPr>
            </a:lvl1pPr>
          </a:lstStyle>
          <a:p>
            <a:r>
              <a:t>Title Text</a:t>
            </a:r>
          </a:p>
        </p:txBody>
      </p:sp>
      <p:sp>
        <p:nvSpPr>
          <p:cNvPr id="424" name="Shape 424"/>
          <p:cNvSpPr>
            <a:spLocks noGrp="1"/>
          </p:cNvSpPr>
          <p:nvPr>
            <p:ph type="body" idx="1"/>
          </p:nvPr>
        </p:nvSpPr>
        <p:spPr>
          <a:xfrm>
            <a:off x="916662" y="1982850"/>
            <a:ext cx="10357089" cy="4876738"/>
          </a:xfrm>
          <a:prstGeom prst="rect">
            <a:avLst/>
          </a:prstGeom>
        </p:spPr>
        <p:txBody>
          <a:bodyPr anchor="t"/>
          <a:lstStyle>
            <a:lvl1pPr marL="269073" marR="40650" indent="-241162" defTabSz="652029">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14701" marR="40650" indent="-200968" defTabSz="652029">
              <a:spcBef>
                <a:spcPts val="633"/>
              </a:spcBef>
              <a:buClr>
                <a:srgbClr val="000000"/>
              </a:buClr>
              <a:buSzPct val="100000"/>
              <a:buFont typeface="Arial"/>
              <a:buChar char="–"/>
              <a:defRPr>
                <a:uFill>
                  <a:solidFill>
                    <a:srgbClr val="000000"/>
                  </a:solidFill>
                </a:uFill>
                <a:latin typeface="Arial"/>
                <a:ea typeface="Arial"/>
                <a:cs typeface="Arial"/>
                <a:sym typeface="Arial"/>
              </a:defRPr>
            </a:lvl2pPr>
            <a:lvl3pPr marL="796056" marR="40650" indent="-160774" defTabSz="652029">
              <a:spcBef>
                <a:spcPts val="633"/>
              </a:spcBef>
              <a:buClr>
                <a:srgbClr val="000000"/>
              </a:buClr>
              <a:buSzPct val="100000"/>
              <a:buFont typeface="Arial"/>
              <a:defRPr sz="2110">
                <a:uFill>
                  <a:solidFill>
                    <a:srgbClr val="000000"/>
                  </a:solidFill>
                </a:uFill>
                <a:latin typeface="Arial"/>
                <a:ea typeface="Arial"/>
                <a:cs typeface="Arial"/>
                <a:sym typeface="Arial"/>
              </a:defRPr>
            </a:lvl3pPr>
            <a:lvl4pPr marL="1117605"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39154"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5" name="Shape 425"/>
          <p:cNvSpPr>
            <a:spLocks noGrp="1"/>
          </p:cNvSpPr>
          <p:nvPr>
            <p:ph type="sldNum" sz="quarter" idx="2"/>
          </p:nvPr>
        </p:nvSpPr>
        <p:spPr>
          <a:xfrm>
            <a:off x="9846396" y="6252229"/>
            <a:ext cx="319010" cy="227551"/>
          </a:xfrm>
          <a:prstGeom prst="rect">
            <a:avLst/>
          </a:prstGeom>
        </p:spPr>
        <p:txBody>
          <a:bodyPr>
            <a:normAutofit/>
          </a:bodyPr>
          <a:lstStyle>
            <a:lvl1pPr>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93425959"/>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type="tx">
  <p:cSld name="2_Default">
    <p:spTree>
      <p:nvGrpSpPr>
        <p:cNvPr id="1" name=""/>
        <p:cNvGrpSpPr/>
        <p:nvPr/>
      </p:nvGrpSpPr>
      <p:grpSpPr>
        <a:xfrm>
          <a:off x="0" y="0"/>
          <a:ext cx="0" cy="0"/>
          <a:chOff x="0" y="0"/>
          <a:chExt cx="0" cy="0"/>
        </a:xfrm>
      </p:grpSpPr>
      <p:sp>
        <p:nvSpPr>
          <p:cNvPr id="432" name="Shape 432"/>
          <p:cNvSpPr>
            <a:spLocks noGrp="1"/>
          </p:cNvSpPr>
          <p:nvPr>
            <p:ph type="sldNum" sz="quarter" idx="2"/>
          </p:nvPr>
        </p:nvSpPr>
        <p:spPr>
          <a:xfrm>
            <a:off x="9835684"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33" name="Shape 433"/>
          <p:cNvSpPr>
            <a:spLocks noGrp="1"/>
          </p:cNvSpPr>
          <p:nvPr>
            <p:ph type="title"/>
          </p:nvPr>
        </p:nvSpPr>
        <p:spPr>
          <a:xfrm>
            <a:off x="916662" y="384066"/>
            <a:ext cx="10357089" cy="1598784"/>
          </a:xfrm>
          <a:prstGeom prst="rect">
            <a:avLst/>
          </a:prstGeom>
        </p:spPr>
        <p:txBody>
          <a:bodyPr>
            <a:noAutofit/>
          </a:bodyPr>
          <a:lstStyle>
            <a:lvl1pPr defTabSz="643098">
              <a:defRPr sz="4360">
                <a:latin typeface="Arial"/>
                <a:ea typeface="Arial"/>
                <a:cs typeface="Arial"/>
                <a:sym typeface="Arial"/>
              </a:defRPr>
            </a:lvl1pPr>
          </a:lstStyle>
          <a:p>
            <a:r>
              <a:t>Title Text</a:t>
            </a:r>
          </a:p>
        </p:txBody>
      </p:sp>
      <p:sp>
        <p:nvSpPr>
          <p:cNvPr id="434" name="Shape 434"/>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buChar char="»"/>
              <a:defRPr sz="3095">
                <a:latin typeface="Arial"/>
                <a:ea typeface="Arial"/>
                <a:cs typeface="Arial"/>
                <a:sym typeface="Arial"/>
              </a:defRPr>
            </a:lvl1pPr>
            <a:lvl2pPr marL="439250" indent="-232699" defTabSz="643098">
              <a:spcBef>
                <a:spcPts val="774"/>
              </a:spcBef>
              <a:buClr>
                <a:srgbClr val="000000"/>
              </a:buClr>
              <a:buSzPct val="100000"/>
              <a:buFont typeface="Arial"/>
              <a:buChar char="–"/>
              <a:defRPr sz="3095">
                <a:latin typeface="Arial"/>
                <a:ea typeface="Arial"/>
                <a:cs typeface="Arial"/>
                <a:sym typeface="Arial"/>
              </a:defRPr>
            </a:lvl2pPr>
            <a:lvl3pPr marL="736160" indent="-208061" defTabSz="643098">
              <a:spcBef>
                <a:spcPts val="774"/>
              </a:spcBef>
              <a:buClr>
                <a:srgbClr val="000000"/>
              </a:buClr>
              <a:buSzPct val="100000"/>
              <a:buFont typeface="Arial"/>
              <a:defRPr sz="3095">
                <a:latin typeface="Arial"/>
                <a:ea typeface="Arial"/>
                <a:cs typeface="Arial"/>
                <a:sym typeface="Arial"/>
              </a:defRPr>
            </a:lvl3pPr>
            <a:lvl4pPr marL="1102293" indent="-252645" defTabSz="643098">
              <a:spcBef>
                <a:spcPts val="774"/>
              </a:spcBef>
              <a:buClr>
                <a:srgbClr val="000000"/>
              </a:buClr>
              <a:buSzPct val="100000"/>
              <a:buFont typeface="Arial"/>
              <a:buChar char="–"/>
              <a:defRPr sz="3095">
                <a:latin typeface="Arial"/>
                <a:ea typeface="Arial"/>
                <a:cs typeface="Arial"/>
                <a:sym typeface="Arial"/>
              </a:defRPr>
            </a:lvl4pPr>
            <a:lvl5pPr marL="1423841" indent="-252645" defTabSz="643098">
              <a:spcBef>
                <a:spcPts val="774"/>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04341766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x">
  <p:cSld name="1_Standarddesign">
    <p:spTree>
      <p:nvGrpSpPr>
        <p:cNvPr id="1" name=""/>
        <p:cNvGrpSpPr/>
        <p:nvPr/>
      </p:nvGrpSpPr>
      <p:grpSpPr>
        <a:xfrm>
          <a:off x="0" y="0"/>
          <a:ext cx="0" cy="0"/>
          <a:chOff x="0" y="0"/>
          <a:chExt cx="0" cy="0"/>
        </a:xfrm>
      </p:grpSpPr>
      <p:sp>
        <p:nvSpPr>
          <p:cNvPr id="441" name="Shape 441"/>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42" name="Shape 442"/>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3" name="Shape 443"/>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36567006"/>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type="tx">
  <p:cSld name="1_Office Theme copy 1">
    <p:spTree>
      <p:nvGrpSpPr>
        <p:cNvPr id="1" name=""/>
        <p:cNvGrpSpPr/>
        <p:nvPr/>
      </p:nvGrpSpPr>
      <p:grpSpPr>
        <a:xfrm>
          <a:off x="0" y="0"/>
          <a:ext cx="0" cy="0"/>
          <a:chOff x="0" y="0"/>
          <a:chExt cx="0" cy="0"/>
        </a:xfrm>
      </p:grpSpPr>
      <p:sp>
        <p:nvSpPr>
          <p:cNvPr id="450" name="Shape 450"/>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451" name="Shape 451"/>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52" name="Shape 452"/>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838074298"/>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type="tx">
  <p:cSld name="1_Default - Title and Content copy">
    <p:spTree>
      <p:nvGrpSpPr>
        <p:cNvPr id="1" name=""/>
        <p:cNvGrpSpPr/>
        <p:nvPr/>
      </p:nvGrpSpPr>
      <p:grpSpPr>
        <a:xfrm>
          <a:off x="0" y="0"/>
          <a:ext cx="0" cy="0"/>
          <a:chOff x="0" y="0"/>
          <a:chExt cx="0" cy="0"/>
        </a:xfrm>
      </p:grpSpPr>
      <p:sp>
        <p:nvSpPr>
          <p:cNvPr id="459" name="Shape 459"/>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460" name="Shape 460"/>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380722"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61" name="Shape 461"/>
          <p:cNvSpPr>
            <a:spLocks noGrp="1"/>
          </p:cNvSpPr>
          <p:nvPr>
            <p:ph type="sldNum" sz="quarter" idx="2"/>
          </p:nvPr>
        </p:nvSpPr>
        <p:spPr>
          <a:xfrm>
            <a:off x="9601724"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954876277"/>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type="tx">
  <p:cSld name="Default - Title Slide copy 1">
    <p:spTree>
      <p:nvGrpSpPr>
        <p:cNvPr id="1" name=""/>
        <p:cNvGrpSpPr/>
        <p:nvPr/>
      </p:nvGrpSpPr>
      <p:grpSpPr>
        <a:xfrm>
          <a:off x="0" y="0"/>
          <a:ext cx="0" cy="0"/>
          <a:chOff x="0" y="0"/>
          <a:chExt cx="0" cy="0"/>
        </a:xfrm>
      </p:grpSpPr>
      <p:sp>
        <p:nvSpPr>
          <p:cNvPr id="468" name="Shape 468"/>
          <p:cNvSpPr>
            <a:spLocks noGrp="1"/>
          </p:cNvSpPr>
          <p:nvPr>
            <p:ph type="title"/>
          </p:nvPr>
        </p:nvSpPr>
        <p:spPr>
          <a:xfrm>
            <a:off x="1318446" y="0"/>
            <a:ext cx="8156208" cy="1975035"/>
          </a:xfrm>
          <a:prstGeom prst="rect">
            <a:avLst/>
          </a:prstGeom>
        </p:spPr>
        <p:txBody>
          <a:bodyPr lIns="38100" tIns="38100" rIns="38100" bIns="38100" anchor="b">
            <a:noAutofit/>
          </a:bodyPr>
          <a:lstStyle>
            <a:lvl1pPr algn="l" defTabSz="643098">
              <a:defRPr sz="3938">
                <a:solidFill>
                  <a:srgbClr val="006021"/>
                </a:solidFill>
                <a:uFill>
                  <a:solidFill>
                    <a:srgbClr val="006021"/>
                  </a:solidFill>
                </a:uFill>
                <a:latin typeface="Calibri"/>
                <a:ea typeface="Calibri"/>
                <a:cs typeface="Calibri"/>
                <a:sym typeface="Calibri"/>
              </a:defRPr>
            </a:lvl1pPr>
          </a:lstStyle>
          <a:p>
            <a:r>
              <a:t>Title Text</a:t>
            </a:r>
          </a:p>
        </p:txBody>
      </p:sp>
      <p:sp>
        <p:nvSpPr>
          <p:cNvPr id="469" name="Shape 469"/>
          <p:cNvSpPr>
            <a:spLocks noGrp="1"/>
          </p:cNvSpPr>
          <p:nvPr>
            <p:ph type="body" idx="1"/>
          </p:nvPr>
        </p:nvSpPr>
        <p:spPr>
          <a:xfrm>
            <a:off x="1318446" y="2363566"/>
            <a:ext cx="9699354" cy="4496023"/>
          </a:xfrm>
          <a:prstGeom prst="rect">
            <a:avLst/>
          </a:prstGeom>
        </p:spPr>
        <p:txBody>
          <a:bodyPr lIns="38100" tIns="38100" rIns="38100" bIns="38100" anchor="t">
            <a:noAutofit/>
          </a:bodyPr>
          <a:lstStyle>
            <a:lvl1pPr marL="0" indent="0" defTabSz="643098">
              <a:spcBef>
                <a:spcPts val="0"/>
              </a:spcBef>
              <a:buSzTx/>
              <a:buNone/>
              <a:defRPr sz="2391">
                <a:uFill>
                  <a:solidFill>
                    <a:srgbClr val="000000"/>
                  </a:solidFill>
                </a:uFill>
                <a:latin typeface="Calibri"/>
                <a:ea typeface="Calibri"/>
                <a:cs typeface="Calibri"/>
                <a:sym typeface="Calibri"/>
              </a:defRPr>
            </a:lvl1pPr>
            <a:lvl2pPr marL="380722"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70" name="Shape 470"/>
          <p:cNvSpPr>
            <a:spLocks noGrp="1"/>
          </p:cNvSpPr>
          <p:nvPr>
            <p:ph type="sldNum" sz="quarter" idx="2"/>
          </p:nvPr>
        </p:nvSpPr>
        <p:spPr>
          <a:xfrm>
            <a:off x="5696399" y="6529113"/>
            <a:ext cx="1033937" cy="730328"/>
          </a:xfrm>
          <a:prstGeom prst="rect">
            <a:avLst/>
          </a:prstGeom>
        </p:spPr>
        <p:txBody>
          <a:bodyPr/>
          <a:lstStyle>
            <a:lvl1pPr>
              <a:defRPr sz="4079">
                <a:uFill>
                  <a:solidFill>
                    <a:srgbClr val="000000"/>
                  </a:solidFill>
                </a:uFill>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1141842852"/>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type="tx">
  <p:cSld name="2_Standarddesign">
    <p:spTree>
      <p:nvGrpSpPr>
        <p:cNvPr id="1" name=""/>
        <p:cNvGrpSpPr/>
        <p:nvPr/>
      </p:nvGrpSpPr>
      <p:grpSpPr>
        <a:xfrm>
          <a:off x="0" y="0"/>
          <a:ext cx="0" cy="0"/>
          <a:chOff x="0" y="0"/>
          <a:chExt cx="0" cy="0"/>
        </a:xfrm>
      </p:grpSpPr>
      <p:sp>
        <p:nvSpPr>
          <p:cNvPr id="477" name="Shape 477"/>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78" name="Shape 478"/>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79" name="Shape 479"/>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593560"/>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type="tx">
  <p:cSld name="4_Default - Titel og indholdsobjekt">
    <p:spTree>
      <p:nvGrpSpPr>
        <p:cNvPr id="1" name=""/>
        <p:cNvGrpSpPr/>
        <p:nvPr/>
      </p:nvGrpSpPr>
      <p:grpSpPr>
        <a:xfrm>
          <a:off x="0" y="0"/>
          <a:ext cx="0" cy="0"/>
          <a:chOff x="0" y="0"/>
          <a:chExt cx="0" cy="0"/>
        </a:xfrm>
      </p:grpSpPr>
      <p:sp>
        <p:nvSpPr>
          <p:cNvPr id="486" name="Shape 486"/>
          <p:cNvSpPr>
            <a:spLocks noGrp="1"/>
          </p:cNvSpPr>
          <p:nvPr>
            <p:ph type="title"/>
          </p:nvPr>
        </p:nvSpPr>
        <p:spPr>
          <a:xfrm>
            <a:off x="916662" y="0"/>
            <a:ext cx="10357089" cy="2366915"/>
          </a:xfrm>
          <a:prstGeom prst="rect">
            <a:avLst/>
          </a:prstGeom>
        </p:spPr>
        <p:txBody>
          <a:bodyPr>
            <a:noAutofit/>
          </a:bodyPr>
          <a:lstStyle>
            <a:lvl1pPr marL="4466" indent="-4466" defTabSz="643098">
              <a:defRPr sz="4360">
                <a:uFill>
                  <a:solidFill>
                    <a:srgbClr val="000000"/>
                  </a:solidFill>
                </a:uFill>
                <a:latin typeface="Times"/>
                <a:ea typeface="Times"/>
                <a:cs typeface="Times"/>
                <a:sym typeface="Times"/>
              </a:defRPr>
            </a:lvl1pPr>
          </a:lstStyle>
          <a:p>
            <a:r>
              <a:t>Title Text</a:t>
            </a:r>
          </a:p>
        </p:txBody>
      </p:sp>
      <p:sp>
        <p:nvSpPr>
          <p:cNvPr id="487" name="Shape 48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478973"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60328"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081877"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03426"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488" name="Shape 488"/>
          <p:cNvSpPr>
            <a:spLocks noGrp="1"/>
          </p:cNvSpPr>
          <p:nvPr>
            <p:ph type="sldNum" sz="quarter" idx="2"/>
          </p:nvPr>
        </p:nvSpPr>
        <p:spPr>
          <a:xfrm>
            <a:off x="9846675" y="6270092"/>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459493510"/>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type="tx">
  <p:cSld name="4_Title &amp; Bullets copy">
    <p:spTree>
      <p:nvGrpSpPr>
        <p:cNvPr id="1" name=""/>
        <p:cNvGrpSpPr/>
        <p:nvPr/>
      </p:nvGrpSpPr>
      <p:grpSpPr>
        <a:xfrm>
          <a:off x="0" y="0"/>
          <a:ext cx="0" cy="0"/>
          <a:chOff x="0" y="0"/>
          <a:chExt cx="0" cy="0"/>
        </a:xfrm>
      </p:grpSpPr>
      <p:sp>
        <p:nvSpPr>
          <p:cNvPr id="495" name="Shape 495"/>
          <p:cNvSpPr>
            <a:spLocks noGrp="1"/>
          </p:cNvSpPr>
          <p:nvPr>
            <p:ph type="title"/>
          </p:nvPr>
        </p:nvSpPr>
        <p:spPr>
          <a:xfrm>
            <a:off x="916662" y="384066"/>
            <a:ext cx="10357089" cy="1598784"/>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96" name="Shape 49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97" name="Shape 497"/>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24659230"/>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type="tx">
  <p:cSld name="5_Title &amp; Bullets copy">
    <p:spTree>
      <p:nvGrpSpPr>
        <p:cNvPr id="1" name=""/>
        <p:cNvGrpSpPr/>
        <p:nvPr/>
      </p:nvGrpSpPr>
      <p:grpSpPr>
        <a:xfrm>
          <a:off x="0" y="0"/>
          <a:ext cx="0" cy="0"/>
          <a:chOff x="0" y="0"/>
          <a:chExt cx="0" cy="0"/>
        </a:xfrm>
      </p:grpSpPr>
      <p:sp>
        <p:nvSpPr>
          <p:cNvPr id="504" name="Shape 504"/>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venir Next"/>
                <a:ea typeface="Avenir Next"/>
                <a:cs typeface="Avenir Next"/>
                <a:sym typeface="Avenir Next"/>
              </a:defRPr>
            </a:lvl1pPr>
          </a:lstStyle>
          <a:p>
            <a:r>
              <a:t>Title Text</a:t>
            </a:r>
          </a:p>
        </p:txBody>
      </p:sp>
      <p:sp>
        <p:nvSpPr>
          <p:cNvPr id="505" name="Shape 505"/>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venir Next"/>
                <a:ea typeface="Avenir Next"/>
                <a:cs typeface="Avenir Next"/>
                <a:sym typeface="Avenir Next"/>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venir Next"/>
                <a:ea typeface="Avenir Next"/>
                <a:cs typeface="Avenir Next"/>
                <a:sym typeface="Avenir Next"/>
              </a:defRPr>
            </a:lvl2pPr>
            <a:lvl3pPr marL="796056" marR="40650" indent="-160774" defTabSz="643098">
              <a:spcBef>
                <a:spcPts val="563"/>
              </a:spcBef>
              <a:buClr>
                <a:srgbClr val="000000"/>
              </a:buClr>
              <a:buSzPct val="100000"/>
              <a:buFont typeface="Arial"/>
              <a:defRPr sz="2391">
                <a:uFill>
                  <a:solidFill>
                    <a:srgbClr val="000000"/>
                  </a:solidFill>
                </a:uFill>
                <a:latin typeface="Avenir Next"/>
                <a:ea typeface="Avenir Next"/>
                <a:cs typeface="Avenir Next"/>
                <a:sym typeface="Avenir Next"/>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506" name="Shape 506"/>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51656527"/>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type="tx">
  <p:cSld name="3_Title &amp; Bullets copy 2">
    <p:spTree>
      <p:nvGrpSpPr>
        <p:cNvPr id="1" name=""/>
        <p:cNvGrpSpPr/>
        <p:nvPr/>
      </p:nvGrpSpPr>
      <p:grpSpPr>
        <a:xfrm>
          <a:off x="0" y="0"/>
          <a:ext cx="0" cy="0"/>
          <a:chOff x="0" y="0"/>
          <a:chExt cx="0" cy="0"/>
        </a:xfrm>
      </p:grpSpPr>
      <p:sp>
        <p:nvSpPr>
          <p:cNvPr id="513" name="Shape 51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514" name="Shape 51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15" name="Shape 51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3227151"/>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type="tx">
  <p:cSld name="3_Default - Title and Content copy 1">
    <p:spTree>
      <p:nvGrpSpPr>
        <p:cNvPr id="1" name=""/>
        <p:cNvGrpSpPr/>
        <p:nvPr/>
      </p:nvGrpSpPr>
      <p:grpSpPr>
        <a:xfrm>
          <a:off x="0" y="0"/>
          <a:ext cx="0" cy="0"/>
          <a:chOff x="0" y="0"/>
          <a:chExt cx="0" cy="0"/>
        </a:xfrm>
      </p:grpSpPr>
      <p:sp>
        <p:nvSpPr>
          <p:cNvPr id="522" name="Shape 52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110"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23" name="Shape 523"/>
          <p:cNvSpPr>
            <a:spLocks noGrp="1"/>
          </p:cNvSpPr>
          <p:nvPr>
            <p:ph type="body" idx="1"/>
          </p:nvPr>
        </p:nvSpPr>
        <p:spPr>
          <a:xfrm>
            <a:off x="359787" y="963835"/>
            <a:ext cx="11345975" cy="5895754"/>
          </a:xfrm>
          <a:prstGeom prst="rect">
            <a:avLst/>
          </a:prstGeom>
        </p:spPr>
        <p:txBody>
          <a:bodyPr lIns="54186" tIns="54186" rIns="54186" bIns="54186" anchor="t">
            <a:noAutofit/>
          </a:bodyPr>
          <a:lstStyle>
            <a:lvl1pPr marL="277866" indent="-277866"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1pPr>
            <a:lvl2pPr marL="512607"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2pPr>
            <a:lvl3pPr marL="782937"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3pPr>
            <a:lvl4pPr marL="1047545"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4pPr>
            <a:lvl5pPr marL="1315363"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24" name="Shape 524"/>
          <p:cNvSpPr>
            <a:spLocks noGrp="1"/>
          </p:cNvSpPr>
          <p:nvPr>
            <p:ph type="sldNum" sz="quarter" idx="2"/>
          </p:nvPr>
        </p:nvSpPr>
        <p:spPr>
          <a:xfrm>
            <a:off x="9596843" y="6527724"/>
            <a:ext cx="293383" cy="243306"/>
          </a:xfrm>
          <a:prstGeom prst="rect">
            <a:avLst/>
          </a:prstGeom>
        </p:spPr>
        <p:txBody>
          <a:bodyPr lIns="72248" tIns="72248" rIns="72248" bIns="72248"/>
          <a:lstStyle>
            <a:lvl1pPr defTabSz="584345">
              <a:defRPr sz="633">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66255443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8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x">
  <p:cSld name="2_Title &amp; Bullets copy 5">
    <p:spTree>
      <p:nvGrpSpPr>
        <p:cNvPr id="1" name=""/>
        <p:cNvGrpSpPr/>
        <p:nvPr/>
      </p:nvGrpSpPr>
      <p:grpSpPr>
        <a:xfrm>
          <a:off x="0" y="0"/>
          <a:ext cx="0" cy="0"/>
          <a:chOff x="0" y="0"/>
          <a:chExt cx="0" cy="0"/>
        </a:xfrm>
      </p:grpSpPr>
      <p:sp>
        <p:nvSpPr>
          <p:cNvPr id="531" name="Shape 531"/>
          <p:cNvSpPr>
            <a:spLocks noGrp="1"/>
          </p:cNvSpPr>
          <p:nvPr>
            <p:ph type="title"/>
          </p:nvPr>
        </p:nvSpPr>
        <p:spPr>
          <a:xfrm>
            <a:off x="916662" y="384065"/>
            <a:ext cx="10357090" cy="1598785"/>
          </a:xfrm>
          <a:prstGeom prst="rect">
            <a:avLst/>
          </a:prstGeom>
        </p:spPr>
        <p:txBody>
          <a:bodyPr>
            <a:noAutofit/>
          </a:bodyPr>
          <a:lstStyle>
            <a:lvl1pPr marL="57813" marR="57813" defTabSz="1295722">
              <a:defRPr sz="3938">
                <a:uFill>
                  <a:solidFill>
                    <a:srgbClr val="000000"/>
                  </a:solidFill>
                </a:uFill>
                <a:latin typeface="Arial"/>
                <a:ea typeface="Arial"/>
                <a:cs typeface="Arial"/>
                <a:sym typeface="Arial"/>
              </a:defRPr>
            </a:lvl1pPr>
          </a:lstStyle>
          <a:p>
            <a:r>
              <a:t>Title Text</a:t>
            </a:r>
          </a:p>
        </p:txBody>
      </p:sp>
      <p:sp>
        <p:nvSpPr>
          <p:cNvPr id="532" name="Shape 532"/>
          <p:cNvSpPr>
            <a:spLocks noGrp="1"/>
          </p:cNvSpPr>
          <p:nvPr>
            <p:ph type="body" idx="1"/>
          </p:nvPr>
        </p:nvSpPr>
        <p:spPr>
          <a:xfrm>
            <a:off x="916662" y="1982850"/>
            <a:ext cx="10357090" cy="4876738"/>
          </a:xfrm>
          <a:prstGeom prst="rect">
            <a:avLst/>
          </a:prstGeom>
        </p:spPr>
        <p:txBody>
          <a:bodyPr anchor="t">
            <a:noAutofit/>
          </a:bodyPr>
          <a:lstStyle>
            <a:lvl1pPr marL="246775" marR="57813" indent="-218193" defTabSz="1295722">
              <a:spcBef>
                <a:spcPts val="985"/>
              </a:spcBef>
              <a:buSzPct val="100000"/>
              <a:defRPr sz="2673">
                <a:uFill>
                  <a:solidFill>
                    <a:srgbClr val="000000"/>
                  </a:solidFill>
                </a:uFill>
                <a:latin typeface="Arial"/>
                <a:ea typeface="Arial"/>
                <a:cs typeface="Arial"/>
                <a:sym typeface="Arial"/>
              </a:defRPr>
            </a:lvl1pPr>
            <a:lvl2pPr marL="539934" marR="57813" indent="-189803" defTabSz="1295722">
              <a:spcBef>
                <a:spcPts val="844"/>
              </a:spcBef>
              <a:buSzPct val="100000"/>
              <a:buChar char="–"/>
              <a:defRPr sz="2391">
                <a:uFill>
                  <a:solidFill>
                    <a:srgbClr val="000000"/>
                  </a:solidFill>
                </a:uFill>
                <a:latin typeface="Arial"/>
                <a:ea typeface="Arial"/>
                <a:cs typeface="Arial"/>
                <a:sym typeface="Arial"/>
              </a:defRPr>
            </a:lvl2pPr>
            <a:lvl3pPr marL="821736" marR="57813" indent="-150056" defTabSz="1295722">
              <a:spcBef>
                <a:spcPts val="774"/>
              </a:spcBef>
              <a:buSzPct val="100000"/>
              <a:defRPr sz="1969">
                <a:uFill>
                  <a:solidFill>
                    <a:srgbClr val="000000"/>
                  </a:solidFill>
                </a:uFill>
                <a:latin typeface="Arial"/>
                <a:ea typeface="Arial"/>
                <a:cs typeface="Arial"/>
                <a:sym typeface="Arial"/>
              </a:defRPr>
            </a:lvl3pPr>
            <a:lvl4pPr marL="1140604" marR="57813" indent="-147377" defTabSz="1295722">
              <a:spcBef>
                <a:spcPts val="633"/>
              </a:spcBef>
              <a:buSzPct val="100000"/>
              <a:buChar char="–"/>
              <a:defRPr sz="1547">
                <a:uFill>
                  <a:solidFill>
                    <a:srgbClr val="000000"/>
                  </a:solidFill>
                </a:uFill>
                <a:latin typeface="Arial"/>
                <a:ea typeface="Arial"/>
                <a:cs typeface="Arial"/>
                <a:sym typeface="Arial"/>
              </a:defRPr>
            </a:lvl4pPr>
            <a:lvl5pPr marL="1462153" marR="57813" indent="-147377" defTabSz="1295722">
              <a:spcBef>
                <a:spcPts val="633"/>
              </a:spcBef>
              <a:buSzPct val="100000"/>
              <a:buChar char="»"/>
              <a:defRPr sz="1547">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33" name="Shape 533"/>
          <p:cNvSpPr>
            <a:spLocks noGrp="1"/>
          </p:cNvSpPr>
          <p:nvPr>
            <p:ph type="sldNum" sz="quarter" idx="2"/>
          </p:nvPr>
        </p:nvSpPr>
        <p:spPr>
          <a:xfrm>
            <a:off x="9860035" y="6252229"/>
            <a:ext cx="333425" cy="254172"/>
          </a:xfrm>
          <a:prstGeom prst="rect">
            <a:avLst/>
          </a:prstGeom>
        </p:spPr>
        <p:txBody>
          <a:bodyPr/>
          <a:lstStyle>
            <a:lvl1pPr defTabSz="647861">
              <a:defRPr sz="98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50129499"/>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type="tx">
  <p:cSld name="6_Title &amp; Bullets copy">
    <p:spTree>
      <p:nvGrpSpPr>
        <p:cNvPr id="1" name=""/>
        <p:cNvGrpSpPr/>
        <p:nvPr/>
      </p:nvGrpSpPr>
      <p:grpSpPr>
        <a:xfrm>
          <a:off x="0" y="0"/>
          <a:ext cx="0" cy="0"/>
          <a:chOff x="0" y="0"/>
          <a:chExt cx="0" cy="0"/>
        </a:xfrm>
      </p:grpSpPr>
      <p:sp>
        <p:nvSpPr>
          <p:cNvPr id="540" name="Shape 540"/>
          <p:cNvSpPr>
            <a:spLocks noGrp="1"/>
          </p:cNvSpPr>
          <p:nvPr>
            <p:ph type="title"/>
          </p:nvPr>
        </p:nvSpPr>
        <p:spPr>
          <a:xfrm>
            <a:off x="914280" y="381088"/>
            <a:ext cx="10361853" cy="1600571"/>
          </a:xfrm>
          <a:prstGeom prst="rect">
            <a:avLst/>
          </a:prstGeom>
        </p:spPr>
        <p:txBody>
          <a:bodyPr lIns="72248" tIns="72248" rIns="72248" bIns="72248">
            <a:noAutofit/>
          </a:bodyPr>
          <a:lstStyle>
            <a:lvl1pPr marL="4466" marR="40650" indent="-4466" defTabSz="647861">
              <a:defRPr sz="4079">
                <a:uFill>
                  <a:solidFill>
                    <a:srgbClr val="000000"/>
                  </a:solidFill>
                </a:uFill>
                <a:latin typeface="Arial"/>
                <a:ea typeface="Arial"/>
                <a:cs typeface="Arial"/>
                <a:sym typeface="Arial"/>
              </a:defRPr>
            </a:lvl1pPr>
          </a:lstStyle>
          <a:p>
            <a:r>
              <a:t>Title Text</a:t>
            </a:r>
          </a:p>
        </p:txBody>
      </p:sp>
      <p:sp>
        <p:nvSpPr>
          <p:cNvPr id="541" name="Shape 541"/>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5538" marR="40650" indent="-337625" defTabSz="647861">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91996" marR="40650" indent="-278263" defTabSz="647861">
              <a:spcBef>
                <a:spcPts val="563"/>
              </a:spcBef>
              <a:buClr>
                <a:srgbClr val="000000"/>
              </a:buClr>
              <a:buSzPct val="100000"/>
              <a:buFont typeface="Arial"/>
              <a:buChar char="–"/>
              <a:defRPr>
                <a:uFill>
                  <a:solidFill>
                    <a:srgbClr val="000000"/>
                  </a:solidFill>
                </a:uFill>
                <a:latin typeface="Arial"/>
                <a:ea typeface="Arial"/>
                <a:cs typeface="Arial"/>
                <a:sym typeface="Arial"/>
              </a:defRPr>
            </a:lvl2pPr>
            <a:lvl3pPr marL="854519" marR="40650" indent="-219238" defTabSz="647861">
              <a:spcBef>
                <a:spcPts val="563"/>
              </a:spcBef>
              <a:buClr>
                <a:srgbClr val="000000"/>
              </a:buClr>
              <a:buSzPct val="100000"/>
              <a:buFont typeface="Arial"/>
              <a:defRPr sz="2110">
                <a:uFill>
                  <a:solidFill>
                    <a:srgbClr val="000000"/>
                  </a:solidFill>
                </a:uFill>
                <a:latin typeface="Arial"/>
                <a:ea typeface="Arial"/>
                <a:cs typeface="Arial"/>
                <a:sym typeface="Arial"/>
              </a:defRPr>
            </a:lvl3pPr>
            <a:lvl4pPr marL="1171196"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92745"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42" name="Shape 542"/>
          <p:cNvSpPr>
            <a:spLocks noGrp="1"/>
          </p:cNvSpPr>
          <p:nvPr>
            <p:ph type="sldNum" sz="quarter" idx="2"/>
          </p:nvPr>
        </p:nvSpPr>
        <p:spPr>
          <a:xfrm>
            <a:off x="9826290" y="6249847"/>
            <a:ext cx="410403" cy="319031"/>
          </a:xfrm>
          <a:prstGeom prst="rect">
            <a:avLst/>
          </a:prstGeom>
        </p:spPr>
        <p:txBody>
          <a:bodyPr lIns="72248" tIns="72248" rIns="72248" bIns="72248"/>
          <a:lstStyle>
            <a:lvl1pPr defTabSz="406501">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366460222"/>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type="tx">
  <p:cSld name="2_Default - Title and Content">
    <p:spTree>
      <p:nvGrpSpPr>
        <p:cNvPr id="1" name=""/>
        <p:cNvGrpSpPr/>
        <p:nvPr/>
      </p:nvGrpSpPr>
      <p:grpSpPr>
        <a:xfrm>
          <a:off x="0" y="0"/>
          <a:ext cx="0" cy="0"/>
          <a:chOff x="0" y="0"/>
          <a:chExt cx="0" cy="0"/>
        </a:xfrm>
      </p:grpSpPr>
      <p:sp>
        <p:nvSpPr>
          <p:cNvPr id="549" name="Shape 549"/>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50" name="Shape 550"/>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503908"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74470"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10390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306664"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51" name="Shape 551"/>
          <p:cNvSpPr>
            <a:spLocks noGrp="1"/>
          </p:cNvSpPr>
          <p:nvPr>
            <p:ph type="sldNum" sz="quarter" idx="2"/>
          </p:nvPr>
        </p:nvSpPr>
        <p:spPr>
          <a:xfrm>
            <a:off x="9583601"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385487503"/>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9_Title &amp; Bullets">
    <p:spTree>
      <p:nvGrpSpPr>
        <p:cNvPr id="1" name=""/>
        <p:cNvGrpSpPr/>
        <p:nvPr/>
      </p:nvGrpSpPr>
      <p:grpSpPr>
        <a:xfrm>
          <a:off x="0" y="0"/>
          <a:ext cx="0" cy="0"/>
          <a:chOff x="0" y="0"/>
          <a:chExt cx="0" cy="0"/>
        </a:xfrm>
      </p:grpSpPr>
      <p:sp>
        <p:nvSpPr>
          <p:cNvPr id="558" name="Shape 558"/>
          <p:cNvSpPr>
            <a:spLocks noGrp="1"/>
          </p:cNvSpPr>
          <p:nvPr>
            <p:ph type="title"/>
          </p:nvPr>
        </p:nvSpPr>
        <p:spPr>
          <a:xfrm>
            <a:off x="914280" y="381088"/>
            <a:ext cx="10361853" cy="1600571"/>
          </a:xfrm>
          <a:prstGeom prst="rect">
            <a:avLst/>
          </a:prstGeom>
        </p:spPr>
        <p:txBody>
          <a:bodyPr lIns="72248" tIns="72248" rIns="72248" bIns="72248">
            <a:noAutofit/>
          </a:bodyPr>
          <a:lstStyle>
            <a:lvl1pPr marL="39697" marR="40650" defTabSz="914628">
              <a:defRPr sz="4360">
                <a:uFill>
                  <a:solidFill>
                    <a:srgbClr val="000000"/>
                  </a:solidFill>
                </a:uFill>
                <a:latin typeface="Arial"/>
                <a:ea typeface="Arial"/>
                <a:cs typeface="Arial"/>
                <a:sym typeface="Arial"/>
              </a:defRPr>
            </a:lvl1pPr>
          </a:lstStyle>
          <a:p>
            <a:r>
              <a:t>Title Text</a:t>
            </a:r>
          </a:p>
        </p:txBody>
      </p:sp>
      <p:sp>
        <p:nvSpPr>
          <p:cNvPr id="559" name="Shape 559"/>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marR="40650" indent="-331597" defTabSz="914628">
              <a:spcBef>
                <a:spcPts val="633"/>
              </a:spcBef>
              <a:buClr>
                <a:srgbClr val="000000"/>
              </a:buClr>
              <a:buSzPct val="100000"/>
              <a:buFont typeface="Arial"/>
              <a:defRPr sz="3095">
                <a:uFill>
                  <a:solidFill>
                    <a:srgbClr val="000000"/>
                  </a:solidFill>
                </a:uFill>
                <a:latin typeface="Arial"/>
                <a:ea typeface="Arial"/>
                <a:cs typeface="Arial"/>
                <a:sym typeface="Arial"/>
              </a:defRPr>
            </a:lvl1pPr>
            <a:lvl2pPr marL="586476" marR="40650" indent="-272742" defTabSz="914628">
              <a:spcBef>
                <a:spcPts val="563"/>
              </a:spcBef>
              <a:buClr>
                <a:srgbClr val="000000"/>
              </a:buClr>
              <a:buSzPct val="100000"/>
              <a:buFont typeface="Arial"/>
              <a:buChar char="–"/>
              <a:defRPr sz="2673">
                <a:uFill>
                  <a:solidFill>
                    <a:srgbClr val="000000"/>
                  </a:solidFill>
                </a:uFill>
                <a:latin typeface="Arial"/>
                <a:ea typeface="Arial"/>
                <a:cs typeface="Arial"/>
                <a:sym typeface="Arial"/>
              </a:defRPr>
            </a:lvl2pPr>
            <a:lvl3pPr marL="863045" marR="40650" indent="-227764" defTabSz="91462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81915"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503463"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0" name="Shape 560"/>
          <p:cNvSpPr>
            <a:spLocks noGrp="1"/>
          </p:cNvSpPr>
          <p:nvPr>
            <p:ph type="sldNum" sz="quarter" idx="2"/>
          </p:nvPr>
        </p:nvSpPr>
        <p:spPr>
          <a:xfrm>
            <a:off x="9812388" y="6249847"/>
            <a:ext cx="435089" cy="340704"/>
          </a:xfrm>
          <a:prstGeom prst="rect">
            <a:avLst/>
          </a:prstGeom>
        </p:spPr>
        <p:txBody>
          <a:bodyPr lIns="72248" tIns="72248" rIns="72248" bIns="72248"/>
          <a:lstStyle>
            <a:lvl1pPr defTabSz="45731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06243312"/>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mp; Bullets copy 15">
    <p:spTree>
      <p:nvGrpSpPr>
        <p:cNvPr id="1" name=""/>
        <p:cNvGrpSpPr/>
        <p:nvPr/>
      </p:nvGrpSpPr>
      <p:grpSpPr>
        <a:xfrm>
          <a:off x="0" y="0"/>
          <a:ext cx="0" cy="0"/>
          <a:chOff x="0" y="0"/>
          <a:chExt cx="0" cy="0"/>
        </a:xfrm>
      </p:grpSpPr>
      <p:sp>
        <p:nvSpPr>
          <p:cNvPr id="567" name="Shape 567"/>
          <p:cNvSpPr>
            <a:spLocks noGrp="1"/>
          </p:cNvSpPr>
          <p:nvPr>
            <p:ph type="title"/>
          </p:nvPr>
        </p:nvSpPr>
        <p:spPr>
          <a:xfrm>
            <a:off x="914280" y="0"/>
            <a:ext cx="10361853" cy="2362748"/>
          </a:xfrm>
          <a:prstGeom prst="rect">
            <a:avLst/>
          </a:prstGeom>
        </p:spPr>
        <p:txBody>
          <a:bodyPr lIns="72248" tIns="72248" rIns="72248" bIns="72248">
            <a:noAutofit/>
          </a:bodyPr>
          <a:lstStyle>
            <a:lvl1pPr marL="40650" marR="40650" defTabSz="914628">
              <a:defRPr sz="4079">
                <a:uFill>
                  <a:solidFill>
                    <a:srgbClr val="000000"/>
                  </a:solidFill>
                </a:uFill>
                <a:latin typeface="Arial"/>
                <a:ea typeface="Arial"/>
                <a:cs typeface="Arial"/>
                <a:sym typeface="Arial"/>
              </a:defRPr>
            </a:lvl1pPr>
          </a:lstStyle>
          <a:p>
            <a:r>
              <a:t>Title Text</a:t>
            </a:r>
          </a:p>
        </p:txBody>
      </p:sp>
      <p:sp>
        <p:nvSpPr>
          <p:cNvPr id="568" name="Shape 56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6208" marR="40650" indent="-337625" defTabSz="914628">
              <a:spcBef>
                <a:spcPts val="703"/>
              </a:spcBef>
              <a:buSzPct val="100000"/>
              <a:defRPr sz="2954">
                <a:uFill>
                  <a:solidFill>
                    <a:srgbClr val="000000"/>
                  </a:solidFill>
                </a:uFill>
                <a:latin typeface="Arial"/>
                <a:ea typeface="Arial"/>
                <a:cs typeface="Arial"/>
                <a:sym typeface="Arial"/>
              </a:defRPr>
            </a:lvl1pPr>
            <a:lvl2pPr marL="628394" marR="40650" indent="-278263" defTabSz="914628">
              <a:spcBef>
                <a:spcPts val="633"/>
              </a:spcBef>
              <a:buSzPct val="100000"/>
              <a:buChar char="–"/>
              <a:defRPr>
                <a:uFill>
                  <a:solidFill>
                    <a:srgbClr val="000000"/>
                  </a:solidFill>
                </a:uFill>
                <a:latin typeface="Arial"/>
                <a:ea typeface="Arial"/>
                <a:cs typeface="Arial"/>
                <a:sym typeface="Arial"/>
              </a:defRPr>
            </a:lvl2pPr>
            <a:lvl3pPr marL="890917" marR="40650" indent="-219238" defTabSz="914628">
              <a:spcBef>
                <a:spcPts val="492"/>
              </a:spcBef>
              <a:buSzPct val="100000"/>
              <a:defRPr sz="2110">
                <a:uFill>
                  <a:solidFill>
                    <a:srgbClr val="000000"/>
                  </a:solidFill>
                </a:uFill>
                <a:latin typeface="Arial"/>
                <a:ea typeface="Arial"/>
                <a:cs typeface="Arial"/>
                <a:sym typeface="Arial"/>
              </a:defRPr>
            </a:lvl3pPr>
            <a:lvl4pPr marL="1207594" marR="40650" indent="-214366" defTabSz="914628">
              <a:spcBef>
                <a:spcPts val="422"/>
              </a:spcBef>
              <a:buSzPct val="100000"/>
              <a:buChar char="–"/>
              <a:defRPr sz="1688">
                <a:uFill>
                  <a:solidFill>
                    <a:srgbClr val="000000"/>
                  </a:solidFill>
                </a:uFill>
                <a:latin typeface="Arial"/>
                <a:ea typeface="Arial"/>
                <a:cs typeface="Arial"/>
                <a:sym typeface="Arial"/>
              </a:defRPr>
            </a:lvl4pPr>
            <a:lvl5pPr marL="1529142" marR="40650" indent="-214366" defTabSz="914628">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9" name="Shape 569"/>
          <p:cNvSpPr>
            <a:spLocks noGrp="1"/>
          </p:cNvSpPr>
          <p:nvPr>
            <p:ph type="sldNum" sz="quarter" idx="2"/>
          </p:nvPr>
        </p:nvSpPr>
        <p:spPr>
          <a:xfrm>
            <a:off x="9826688" y="6249847"/>
            <a:ext cx="410403" cy="319031"/>
          </a:xfrm>
          <a:prstGeom prst="rect">
            <a:avLst/>
          </a:prstGeom>
        </p:spPr>
        <p:txBody>
          <a:bodyPr lIns="72248" tIns="72248" rIns="72248" bIns="72248"/>
          <a:lstStyle>
            <a:lvl1pPr defTabSz="457314">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200540741"/>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type="tx">
  <p:cSld name="3_Default">
    <p:spTree>
      <p:nvGrpSpPr>
        <p:cNvPr id="1" name=""/>
        <p:cNvGrpSpPr/>
        <p:nvPr/>
      </p:nvGrpSpPr>
      <p:grpSpPr>
        <a:xfrm>
          <a:off x="0" y="0"/>
          <a:ext cx="0" cy="0"/>
          <a:chOff x="0" y="0"/>
          <a:chExt cx="0" cy="0"/>
        </a:xfrm>
      </p:grpSpPr>
      <p:sp>
        <p:nvSpPr>
          <p:cNvPr id="576" name="Shape 576"/>
          <p:cNvSpPr>
            <a:spLocks noGrp="1"/>
          </p:cNvSpPr>
          <p:nvPr>
            <p:ph type="sldNum" sz="quarter" idx="2"/>
          </p:nvPr>
        </p:nvSpPr>
        <p:spPr>
          <a:xfrm>
            <a:off x="9819160" y="6249847"/>
            <a:ext cx="420498" cy="326113"/>
          </a:xfrm>
          <a:prstGeom prst="rect">
            <a:avLst/>
          </a:prstGeom>
        </p:spPr>
        <p:txBody>
          <a:bodyPr lIns="65023" tIns="65023" rIns="65023" bIns="65023"/>
          <a:lstStyle>
            <a:lvl1pPr defTabSz="643098">
              <a:defRPr>
                <a:latin typeface="Arial"/>
                <a:ea typeface="Arial"/>
                <a:cs typeface="Arial"/>
                <a:sym typeface="Arial"/>
              </a:defRPr>
            </a:lvl1pPr>
          </a:lstStyle>
          <a:p>
            <a:fld id="{86CB4B4D-7CA3-9044-876B-883B54F8677D}" type="slidenum">
              <a:t>‹nr.›</a:t>
            </a:fld>
            <a:endParaRPr/>
          </a:p>
        </p:txBody>
      </p:sp>
      <p:sp>
        <p:nvSpPr>
          <p:cNvPr id="577" name="Shape 577"/>
          <p:cNvSpPr>
            <a:spLocks noGrp="1"/>
          </p:cNvSpPr>
          <p:nvPr>
            <p:ph type="title"/>
          </p:nvPr>
        </p:nvSpPr>
        <p:spPr>
          <a:xfrm>
            <a:off x="914280" y="381088"/>
            <a:ext cx="10361853" cy="1600571"/>
          </a:xfrm>
          <a:prstGeom prst="rect">
            <a:avLst/>
          </a:prstGeom>
        </p:spPr>
        <p:txBody>
          <a:bodyPr lIns="72248" tIns="72248" rIns="72248" bIns="72248">
            <a:noAutofit/>
          </a:bodyPr>
          <a:lstStyle>
            <a:lvl1pPr indent="27912" defTabSz="643098">
              <a:defRPr sz="4360">
                <a:latin typeface="Arial"/>
                <a:ea typeface="Arial"/>
                <a:cs typeface="Arial"/>
                <a:sym typeface="Arial"/>
              </a:defRPr>
            </a:lvl1pPr>
          </a:lstStyle>
          <a:p>
            <a:r>
              <a:t>Title Text</a:t>
            </a:r>
          </a:p>
        </p:txBody>
      </p:sp>
      <p:sp>
        <p:nvSpPr>
          <p:cNvPr id="578" name="Shape 57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indent="-331597" defTabSz="643098">
              <a:spcBef>
                <a:spcPts val="492"/>
              </a:spcBef>
              <a:buSzPct val="100000"/>
              <a:buFont typeface="Arial"/>
              <a:buChar char="»"/>
              <a:defRPr sz="3095">
                <a:latin typeface="Arial"/>
                <a:ea typeface="Arial"/>
                <a:cs typeface="Arial"/>
                <a:sym typeface="Arial"/>
              </a:defRPr>
            </a:lvl1pPr>
            <a:lvl2pPr marL="629540" indent="-315806" defTabSz="643098">
              <a:spcBef>
                <a:spcPts val="492"/>
              </a:spcBef>
              <a:buSzPct val="100000"/>
              <a:buFont typeface="Arial"/>
              <a:buChar char="–"/>
              <a:defRPr sz="3095">
                <a:latin typeface="Arial"/>
                <a:ea typeface="Arial"/>
                <a:cs typeface="Arial"/>
                <a:sym typeface="Arial"/>
              </a:defRPr>
            </a:lvl2pPr>
            <a:lvl3pPr marL="930035" indent="-294753" defTabSz="643098">
              <a:spcBef>
                <a:spcPts val="492"/>
              </a:spcBef>
              <a:buSzPct val="100000"/>
              <a:buFont typeface="Arial"/>
              <a:defRPr sz="3095">
                <a:latin typeface="Arial"/>
                <a:ea typeface="Arial"/>
                <a:cs typeface="Arial"/>
                <a:sym typeface="Arial"/>
              </a:defRPr>
            </a:lvl3pPr>
            <a:lvl4pPr marL="1310534" indent="-353704" defTabSz="643098">
              <a:spcBef>
                <a:spcPts val="492"/>
              </a:spcBef>
              <a:buSzPct val="100000"/>
              <a:buFont typeface="Arial"/>
              <a:buChar char="–"/>
              <a:defRPr sz="3095">
                <a:latin typeface="Arial"/>
                <a:ea typeface="Arial"/>
                <a:cs typeface="Arial"/>
                <a:sym typeface="Arial"/>
              </a:defRPr>
            </a:lvl4pPr>
            <a:lvl5pPr marL="1632083" indent="-353704" defTabSz="643098">
              <a:spcBef>
                <a:spcPts val="492"/>
              </a:spcBef>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54059062"/>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type="tx">
  <p:cSld name="7_Title &amp; Bullets copy">
    <p:spTree>
      <p:nvGrpSpPr>
        <p:cNvPr id="1" name=""/>
        <p:cNvGrpSpPr/>
        <p:nvPr/>
      </p:nvGrpSpPr>
      <p:grpSpPr>
        <a:xfrm>
          <a:off x="0" y="0"/>
          <a:ext cx="0" cy="0"/>
          <a:chOff x="0" y="0"/>
          <a:chExt cx="0" cy="0"/>
        </a:xfrm>
      </p:grpSpPr>
      <p:sp>
        <p:nvSpPr>
          <p:cNvPr id="585" name="Shape 585"/>
          <p:cNvSpPr>
            <a:spLocks noGrp="1"/>
          </p:cNvSpPr>
          <p:nvPr>
            <p:ph type="title"/>
          </p:nvPr>
        </p:nvSpPr>
        <p:spPr>
          <a:xfrm>
            <a:off x="916662" y="384065"/>
            <a:ext cx="10357090" cy="1598785"/>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586" name="Shape 586"/>
          <p:cNvSpPr>
            <a:spLocks noGrp="1"/>
          </p:cNvSpPr>
          <p:nvPr>
            <p:ph type="body" idx="1"/>
          </p:nvPr>
        </p:nvSpPr>
        <p:spPr>
          <a:xfrm>
            <a:off x="916662" y="1982850"/>
            <a:ext cx="10357090" cy="4876738"/>
          </a:xfrm>
          <a:prstGeom prst="rect">
            <a:avLst/>
          </a:prstGeom>
        </p:spPr>
        <p:txBody>
          <a:bodyPr anchor="t">
            <a:noAutofit/>
          </a:bodyPr>
          <a:lstStyle>
            <a:lvl1pPr marL="258781" marR="40650" indent="-230199" defTabSz="911055">
              <a:spcBef>
                <a:spcPts val="703"/>
              </a:spcBef>
              <a:buSzPct val="100000"/>
              <a:defRPr sz="2954">
                <a:uFill>
                  <a:solidFill>
                    <a:srgbClr val="000000"/>
                  </a:solidFill>
                </a:uFill>
                <a:latin typeface="Arial"/>
                <a:ea typeface="Arial"/>
                <a:cs typeface="Arial"/>
                <a:sym typeface="Arial"/>
              </a:defRPr>
            </a:lvl1pPr>
            <a:lvl2pPr marL="540521" marR="40650" indent="-190390" defTabSz="911055">
              <a:spcBef>
                <a:spcPts val="633"/>
              </a:spcBef>
              <a:buSzPct val="100000"/>
              <a:buChar char="–"/>
              <a:defRPr>
                <a:uFill>
                  <a:solidFill>
                    <a:srgbClr val="000000"/>
                  </a:solidFill>
                </a:uFill>
                <a:latin typeface="Arial"/>
                <a:ea typeface="Arial"/>
                <a:cs typeface="Arial"/>
                <a:sym typeface="Arial"/>
              </a:defRPr>
            </a:lvl2pPr>
            <a:lvl3pPr marL="813539" marR="40650" indent="-141859" defTabSz="911055">
              <a:spcBef>
                <a:spcPts val="492"/>
              </a:spcBef>
              <a:buSzPct val="100000"/>
              <a:defRPr sz="2110">
                <a:uFill>
                  <a:solidFill>
                    <a:srgbClr val="000000"/>
                  </a:solidFill>
                </a:uFill>
                <a:latin typeface="Arial"/>
                <a:ea typeface="Arial"/>
                <a:cs typeface="Arial"/>
                <a:sym typeface="Arial"/>
              </a:defRPr>
            </a:lvl3pPr>
            <a:lvl4pPr marL="1131034" marR="40650" indent="-137806" defTabSz="911055">
              <a:spcBef>
                <a:spcPts val="422"/>
              </a:spcBef>
              <a:buSzPct val="100000"/>
              <a:buChar char="–"/>
              <a:defRPr sz="1688">
                <a:uFill>
                  <a:solidFill>
                    <a:srgbClr val="000000"/>
                  </a:solidFill>
                </a:uFill>
                <a:latin typeface="Arial"/>
                <a:ea typeface="Arial"/>
                <a:cs typeface="Arial"/>
                <a:sym typeface="Arial"/>
              </a:defRPr>
            </a:lvl4pPr>
            <a:lvl5pPr marL="1452583" marR="40650" indent="-137806"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87" name="Shape 587"/>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083433702"/>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type="tx">
  <p:cSld name="4_Default">
    <p:spTree>
      <p:nvGrpSpPr>
        <p:cNvPr id="1" name=""/>
        <p:cNvGrpSpPr/>
        <p:nvPr/>
      </p:nvGrpSpPr>
      <p:grpSpPr>
        <a:xfrm>
          <a:off x="0" y="0"/>
          <a:ext cx="0" cy="0"/>
          <a:chOff x="0" y="0"/>
          <a:chExt cx="0" cy="0"/>
        </a:xfrm>
      </p:grpSpPr>
      <p:sp>
        <p:nvSpPr>
          <p:cNvPr id="594" name="Shape 594"/>
          <p:cNvSpPr>
            <a:spLocks noGrp="1"/>
          </p:cNvSpPr>
          <p:nvPr>
            <p:ph type="title"/>
          </p:nvPr>
        </p:nvSpPr>
        <p:spPr>
          <a:xfrm>
            <a:off x="914280" y="609741"/>
            <a:ext cx="10361853" cy="1143265"/>
          </a:xfrm>
          <a:prstGeom prst="rect">
            <a:avLst/>
          </a:prstGeom>
        </p:spPr>
        <p:txBody>
          <a:bodyPr lIns="65023" tIns="65023" rIns="65023" bIns="65023"/>
          <a:lstStyle>
            <a:lvl1pPr defTabSz="914628">
              <a:defRPr sz="4360">
                <a:latin typeface="Times"/>
                <a:ea typeface="Times"/>
                <a:cs typeface="Times"/>
                <a:sym typeface="Times"/>
              </a:defRPr>
            </a:lvl1pPr>
          </a:lstStyle>
          <a:p>
            <a:r>
              <a:t>Title Text</a:t>
            </a:r>
          </a:p>
        </p:txBody>
      </p:sp>
      <p:sp>
        <p:nvSpPr>
          <p:cNvPr id="595" name="Shape 595"/>
          <p:cNvSpPr>
            <a:spLocks noGrp="1"/>
          </p:cNvSpPr>
          <p:nvPr>
            <p:ph type="body" sz="half" idx="1"/>
          </p:nvPr>
        </p:nvSpPr>
        <p:spPr>
          <a:xfrm>
            <a:off x="914280" y="1981658"/>
            <a:ext cx="5084984" cy="4115754"/>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596" name="Shape 596"/>
          <p:cNvSpPr>
            <a:spLocks noGrp="1"/>
          </p:cNvSpPr>
          <p:nvPr>
            <p:ph type="body" sz="half" idx="13"/>
          </p:nvPr>
        </p:nvSpPr>
        <p:spPr>
          <a:xfrm>
            <a:off x="6191149" y="1981658"/>
            <a:ext cx="5084984" cy="4115754"/>
          </a:xfrm>
          <a:prstGeom prst="rect">
            <a:avLst/>
          </a:prstGeom>
        </p:spPr>
        <p:txBody>
          <a:bodyPr lIns="65023" tIns="65023" rIns="65023" bIns="65023" anchor="t"/>
          <a:lstStyle>
            <a:lvl1pPr marL="331597" indent="-331597" defTabSz="914628">
              <a:spcBef>
                <a:spcPts val="703"/>
              </a:spcBef>
              <a:buSzPct val="100000"/>
              <a:defRPr sz="4400">
                <a:latin typeface="Times"/>
                <a:cs typeface="Times"/>
                <a:sym typeface="Times"/>
              </a:defRPr>
            </a:lvl1pPr>
          </a:lstStyle>
          <a:p>
            <a:pPr marL="471487" indent="-471487" defTabSz="1300480">
              <a:spcBef>
                <a:spcPts val="1000"/>
              </a:spcBef>
              <a:buSzPct val="100000"/>
              <a:defRPr sz="4400">
                <a:latin typeface="Times"/>
                <a:ea typeface="Times"/>
                <a:cs typeface="Times"/>
                <a:sym typeface="Times"/>
              </a:defRPr>
            </a:pPr>
            <a:endParaRPr/>
          </a:p>
        </p:txBody>
      </p:sp>
      <p:sp>
        <p:nvSpPr>
          <p:cNvPr id="597" name="Shape 597"/>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132959393"/>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type="tx">
  <p:cSld name="5_Default">
    <p:spTree>
      <p:nvGrpSpPr>
        <p:cNvPr id="1" name=""/>
        <p:cNvGrpSpPr/>
        <p:nvPr/>
      </p:nvGrpSpPr>
      <p:grpSpPr>
        <a:xfrm>
          <a:off x="0" y="0"/>
          <a:ext cx="0" cy="0"/>
          <a:chOff x="0" y="0"/>
          <a:chExt cx="0" cy="0"/>
        </a:xfrm>
      </p:grpSpPr>
      <p:sp>
        <p:nvSpPr>
          <p:cNvPr id="604" name="Shape 604"/>
          <p:cNvSpPr>
            <a:spLocks noGrp="1"/>
          </p:cNvSpPr>
          <p:nvPr>
            <p:ph type="body" idx="1"/>
          </p:nvPr>
        </p:nvSpPr>
        <p:spPr>
          <a:xfrm>
            <a:off x="914280" y="609741"/>
            <a:ext cx="10361853" cy="5487671"/>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05" name="Shape 605"/>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746242666"/>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type="tx">
  <p:cSld name="1_Default - Title and Content">
    <p:spTree>
      <p:nvGrpSpPr>
        <p:cNvPr id="1" name=""/>
        <p:cNvGrpSpPr/>
        <p:nvPr/>
      </p:nvGrpSpPr>
      <p:grpSpPr>
        <a:xfrm>
          <a:off x="0" y="0"/>
          <a:ext cx="0" cy="0"/>
          <a:chOff x="0" y="0"/>
          <a:chExt cx="0" cy="0"/>
        </a:xfrm>
      </p:grpSpPr>
      <p:sp>
        <p:nvSpPr>
          <p:cNvPr id="612" name="Shape 61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613" name="Shape 613"/>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14" name="Shape 614"/>
          <p:cNvSpPr>
            <a:spLocks noGrp="1"/>
          </p:cNvSpPr>
          <p:nvPr>
            <p:ph type="sldNum" sz="quarter" idx="2"/>
          </p:nvPr>
        </p:nvSpPr>
        <p:spPr>
          <a:xfrm>
            <a:off x="9581486"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20476659"/>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x">
  <p:cSld name="2_Title &amp; Bullets copy 7">
    <p:spTree>
      <p:nvGrpSpPr>
        <p:cNvPr id="1" name=""/>
        <p:cNvGrpSpPr/>
        <p:nvPr/>
      </p:nvGrpSpPr>
      <p:grpSpPr>
        <a:xfrm>
          <a:off x="0" y="0"/>
          <a:ext cx="0" cy="0"/>
          <a:chOff x="0" y="0"/>
          <a:chExt cx="0" cy="0"/>
        </a:xfrm>
      </p:grpSpPr>
      <p:sp>
        <p:nvSpPr>
          <p:cNvPr id="621" name="Shape 621"/>
          <p:cNvSpPr>
            <a:spLocks noGrp="1"/>
          </p:cNvSpPr>
          <p:nvPr>
            <p:ph type="title"/>
          </p:nvPr>
        </p:nvSpPr>
        <p:spPr>
          <a:xfrm>
            <a:off x="916662" y="384066"/>
            <a:ext cx="10357089" cy="1598784"/>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622" name="Shape 62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23" name="Shape 623"/>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642934274"/>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type="tx">
  <p:cSld name="6_Default - Titel og indholdsobjekt">
    <p:spTree>
      <p:nvGrpSpPr>
        <p:cNvPr id="1" name=""/>
        <p:cNvGrpSpPr/>
        <p:nvPr/>
      </p:nvGrpSpPr>
      <p:grpSpPr>
        <a:xfrm>
          <a:off x="0" y="0"/>
          <a:ext cx="0" cy="0"/>
          <a:chOff x="0" y="0"/>
          <a:chExt cx="0" cy="0"/>
        </a:xfrm>
      </p:grpSpPr>
      <p:sp>
        <p:nvSpPr>
          <p:cNvPr id="630" name="Shape 630"/>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31" name="Shape 631"/>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2954">
                <a:uFill>
                  <a:solidFill>
                    <a:srgbClr val="000000"/>
                  </a:solidFill>
                </a:uFill>
                <a:latin typeface="Times"/>
                <a:ea typeface="Times"/>
                <a:cs typeface="Times"/>
                <a:sym typeface="Times"/>
              </a:defRPr>
            </a:lvl1pPr>
            <a:lvl2pPr marL="407518" indent="-200968" defTabSz="643098">
              <a:spcBef>
                <a:spcPts val="703"/>
              </a:spcBef>
              <a:buClr>
                <a:srgbClr val="000000"/>
              </a:buClr>
              <a:buSzPct val="100000"/>
              <a:buFont typeface="Times"/>
              <a:buChar char="–"/>
              <a:defRPr>
                <a:uFill>
                  <a:solidFill>
                    <a:srgbClr val="000000"/>
                  </a:solidFill>
                </a:uFill>
                <a:latin typeface="Times"/>
                <a:ea typeface="Times"/>
                <a:cs typeface="Times"/>
                <a:sym typeface="Times"/>
              </a:defRPr>
            </a:lvl2pPr>
            <a:lvl3pPr marL="688873" indent="-160774" defTabSz="643098">
              <a:spcBef>
                <a:spcPts val="633"/>
              </a:spcBef>
              <a:buClr>
                <a:srgbClr val="000000"/>
              </a:buClr>
              <a:buSzPct val="100000"/>
              <a:buFont typeface="Times"/>
              <a:defRPr sz="2110">
                <a:uFill>
                  <a:solidFill>
                    <a:srgbClr val="000000"/>
                  </a:solidFill>
                </a:uFill>
                <a:latin typeface="Times"/>
                <a:ea typeface="Times"/>
                <a:cs typeface="Times"/>
                <a:sym typeface="Times"/>
              </a:defRPr>
            </a:lvl3pPr>
            <a:lvl4pPr marL="1010422"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4pPr>
            <a:lvl5pPr marL="1331971"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32" name="Shape 632"/>
          <p:cNvSpPr>
            <a:spLocks noGrp="1"/>
          </p:cNvSpPr>
          <p:nvPr>
            <p:ph type="sldNum" sz="quarter" idx="2"/>
          </p:nvPr>
        </p:nvSpPr>
        <p:spPr>
          <a:xfrm>
            <a:off x="9858580" y="6270092"/>
            <a:ext cx="355867" cy="275717"/>
          </a:xfrm>
          <a:prstGeom prst="rect">
            <a:avLst/>
          </a:prstGeom>
        </p:spPr>
        <p:txBody>
          <a:bodyPr/>
          <a:lstStyle>
            <a:lvl1pPr>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496364096"/>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type="tx">
  <p:cSld name="Default - Titel og indholdsobjekt copy">
    <p:spTree>
      <p:nvGrpSpPr>
        <p:cNvPr id="1" name=""/>
        <p:cNvGrpSpPr/>
        <p:nvPr/>
      </p:nvGrpSpPr>
      <p:grpSpPr>
        <a:xfrm>
          <a:off x="0" y="0"/>
          <a:ext cx="0" cy="0"/>
          <a:chOff x="0" y="0"/>
          <a:chExt cx="0" cy="0"/>
        </a:xfrm>
      </p:grpSpPr>
      <p:sp>
        <p:nvSpPr>
          <p:cNvPr id="639" name="Shape 639"/>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40" name="Shape 640"/>
          <p:cNvSpPr>
            <a:spLocks noGrp="1"/>
          </p:cNvSpPr>
          <p:nvPr>
            <p:ph type="body" idx="1"/>
          </p:nvPr>
        </p:nvSpPr>
        <p:spPr>
          <a:xfrm>
            <a:off x="916662" y="1982850"/>
            <a:ext cx="10357089" cy="4876738"/>
          </a:xfrm>
          <a:prstGeom prst="rect">
            <a:avLst/>
          </a:prstGeom>
        </p:spPr>
        <p:txBody>
          <a:bodyPr anchor="t">
            <a:noAutofit/>
          </a:bodyPr>
          <a:lstStyle>
            <a:lvl1pPr marL="269074" indent="-241162" defTabSz="643098">
              <a:spcBef>
                <a:spcPts val="774"/>
              </a:spcBef>
              <a:buClr>
                <a:srgbClr val="000000"/>
              </a:buClr>
              <a:buSzPct val="100000"/>
              <a:defRPr sz="2954">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a:uFill>
                  <a:solidFill>
                    <a:srgbClr val="000000"/>
                  </a:solidFill>
                </a:uFill>
                <a:latin typeface="Times"/>
                <a:ea typeface="Times"/>
                <a:cs typeface="Times"/>
                <a:sym typeface="Times"/>
              </a:defRPr>
            </a:lvl2pPr>
            <a:lvl3pPr marL="724601" indent="-160774" defTabSz="643098">
              <a:spcBef>
                <a:spcPts val="633"/>
              </a:spcBef>
              <a:buClr>
                <a:srgbClr val="000000"/>
              </a:buClr>
              <a:buSzPct val="100000"/>
              <a:defRPr sz="2110">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41" name="Shape 641"/>
          <p:cNvSpPr>
            <a:spLocks noGrp="1"/>
          </p:cNvSpPr>
          <p:nvPr>
            <p:ph type="sldNum" sz="quarter" idx="2"/>
          </p:nvPr>
        </p:nvSpPr>
        <p:spPr>
          <a:xfrm>
            <a:off x="9870486" y="6270092"/>
            <a:ext cx="330219" cy="250068"/>
          </a:xfrm>
          <a:prstGeom prst="rect">
            <a:avLst/>
          </a:prstGeom>
        </p:spPr>
        <p:txBody>
          <a:bodyPr lIns="38100" tIns="38100" rIns="38100" bIns="38100"/>
          <a:lstStyle>
            <a:lvl1pPr defTabSz="643098">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759728192"/>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1_Blank">
    <p:bg>
      <p:bgPr>
        <a:solidFill>
          <a:srgbClr val="000000"/>
        </a:solidFill>
        <a:effectLst/>
      </p:bgPr>
    </p:bg>
    <p:spTree>
      <p:nvGrpSpPr>
        <p:cNvPr id="1" name=""/>
        <p:cNvGrpSpPr/>
        <p:nvPr/>
      </p:nvGrpSpPr>
      <p:grpSpPr>
        <a:xfrm>
          <a:off x="0" y="0"/>
          <a:ext cx="0" cy="0"/>
          <a:chOff x="0" y="0"/>
          <a:chExt cx="0" cy="0"/>
        </a:xfrm>
      </p:grpSpPr>
      <p:sp>
        <p:nvSpPr>
          <p:cNvPr id="648" name="Shape 648"/>
          <p:cNvSpPr>
            <a:spLocks noGrp="1"/>
          </p:cNvSpPr>
          <p:nvPr>
            <p:ph type="sldNum" sz="quarter" idx="2"/>
          </p:nvPr>
        </p:nvSpPr>
        <p:spPr>
          <a:xfrm>
            <a:off x="11193227" y="5542452"/>
            <a:ext cx="387667" cy="293281"/>
          </a:xfrm>
          <a:prstGeom prst="rect">
            <a:avLst/>
          </a:prstGeom>
        </p:spPr>
        <p:txBody>
          <a:bodyPr lIns="48766" tIns="48766" rIns="48766" bIns="48766"/>
          <a:lstStyle>
            <a:lvl1pPr algn="r" defTabSz="914628">
              <a:defRPr>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51169861"/>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55" name="Shape 655"/>
          <p:cNvSpPr>
            <a:spLocks noGrp="1"/>
          </p:cNvSpPr>
          <p:nvPr>
            <p:ph type="title"/>
          </p:nvPr>
        </p:nvSpPr>
        <p:spPr>
          <a:xfrm>
            <a:off x="1523801" y="1699415"/>
            <a:ext cx="9142812" cy="1791116"/>
          </a:xfrm>
          <a:prstGeom prst="rect">
            <a:avLst/>
          </a:prstGeom>
        </p:spPr>
        <p:txBody>
          <a:bodyPr lIns="48766" tIns="48766" rIns="48766" bIns="48766" anchor="b"/>
          <a:lstStyle>
            <a:lvl1pPr defTabSz="914628">
              <a:lnSpc>
                <a:spcPct val="90000"/>
              </a:lnSpc>
              <a:defRPr sz="5908">
                <a:latin typeface="Calibri Light"/>
                <a:ea typeface="Calibri Light"/>
                <a:cs typeface="Calibri Light"/>
                <a:sym typeface="Calibri Light"/>
              </a:defRPr>
            </a:lvl1pPr>
          </a:lstStyle>
          <a:p>
            <a:r>
              <a:t>Title Text</a:t>
            </a:r>
          </a:p>
        </p:txBody>
      </p:sp>
      <p:sp>
        <p:nvSpPr>
          <p:cNvPr id="656" name="Shape 656"/>
          <p:cNvSpPr>
            <a:spLocks noGrp="1"/>
          </p:cNvSpPr>
          <p:nvPr>
            <p:ph type="body" sz="quarter" idx="1"/>
          </p:nvPr>
        </p:nvSpPr>
        <p:spPr>
          <a:xfrm>
            <a:off x="1523801" y="3559602"/>
            <a:ext cx="9142812" cy="1242111"/>
          </a:xfrm>
          <a:prstGeom prst="rect">
            <a:avLst/>
          </a:prstGeom>
        </p:spPr>
        <p:txBody>
          <a:bodyPr lIns="48766" tIns="48766" rIns="48766" bIns="48766" anchor="t"/>
          <a:lstStyle>
            <a:lvl1pPr marL="0" indent="0" algn="ctr" defTabSz="914628">
              <a:lnSpc>
                <a:spcPct val="90000"/>
              </a:lnSpc>
              <a:spcBef>
                <a:spcPts val="985"/>
              </a:spcBef>
              <a:buSzTx/>
              <a:buNone/>
              <a:defRPr sz="2391">
                <a:latin typeface="Calibri"/>
                <a:ea typeface="Calibri"/>
                <a:cs typeface="Calibri"/>
                <a:sym typeface="Calibri"/>
              </a:defRPr>
            </a:lvl1pPr>
            <a:lvl2pPr marL="0" indent="0" algn="ctr" defTabSz="914628">
              <a:lnSpc>
                <a:spcPct val="90000"/>
              </a:lnSpc>
              <a:spcBef>
                <a:spcPts val="985"/>
              </a:spcBef>
              <a:buSzTx/>
              <a:buNone/>
              <a:defRPr sz="2391">
                <a:latin typeface="Calibri"/>
                <a:ea typeface="Calibri"/>
                <a:cs typeface="Calibri"/>
                <a:sym typeface="Calibri"/>
              </a:defRPr>
            </a:lvl2pPr>
            <a:lvl3pPr marL="0" indent="0" algn="ctr" defTabSz="914628">
              <a:lnSpc>
                <a:spcPct val="90000"/>
              </a:lnSpc>
              <a:spcBef>
                <a:spcPts val="985"/>
              </a:spcBef>
              <a:buSzTx/>
              <a:buNone/>
              <a:defRPr sz="2391">
                <a:latin typeface="Calibri"/>
                <a:ea typeface="Calibri"/>
                <a:cs typeface="Calibri"/>
                <a:sym typeface="Calibri"/>
              </a:defRPr>
            </a:lvl3pPr>
            <a:lvl4pPr marL="0" indent="0" algn="ctr" defTabSz="914628">
              <a:lnSpc>
                <a:spcPct val="90000"/>
              </a:lnSpc>
              <a:spcBef>
                <a:spcPts val="985"/>
              </a:spcBef>
              <a:buSzTx/>
              <a:buNone/>
              <a:defRPr sz="2391">
                <a:latin typeface="Calibri"/>
                <a:ea typeface="Calibri"/>
                <a:cs typeface="Calibri"/>
                <a:sym typeface="Calibri"/>
              </a:defRPr>
            </a:lvl4pPr>
            <a:lvl5pPr marL="0" indent="0" algn="ctr" defTabSz="914628">
              <a:lnSpc>
                <a:spcPct val="90000"/>
              </a:lnSpc>
              <a:spcBef>
                <a:spcPts val="985"/>
              </a:spcBef>
              <a:buSzTx/>
              <a:buNone/>
              <a:defRPr sz="2391">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7" name="Shape 657"/>
          <p:cNvSpPr>
            <a:spLocks noGrp="1"/>
          </p:cNvSpPr>
          <p:nvPr>
            <p:ph type="sldNum" sz="quarter" idx="2"/>
          </p:nvPr>
        </p:nvSpPr>
        <p:spPr>
          <a:xfrm>
            <a:off x="10995757" y="5626965"/>
            <a:ext cx="356568" cy="271609"/>
          </a:xfrm>
          <a:prstGeom prst="rect">
            <a:avLst/>
          </a:prstGeom>
        </p:spPr>
        <p:txBody>
          <a:bodyPr lIns="48766" tIns="48766" rIns="48766" bIns="48766" anchor="ctr"/>
          <a:lstStyle>
            <a:lvl1pPr algn="r" defTabSz="914628">
              <a:defRPr sz="1125">
                <a:solidFill>
                  <a:srgbClr val="888888"/>
                </a:solid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6079627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8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28-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28-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28/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9" Type="http://schemas.openxmlformats.org/officeDocument/2006/relationships/slideLayout" Target="../slideLayouts/slideLayout277.xml"/><Relationship Id="rId21" Type="http://schemas.openxmlformats.org/officeDocument/2006/relationships/slideLayout" Target="../slideLayouts/slideLayout259.xml"/><Relationship Id="rId34" Type="http://schemas.openxmlformats.org/officeDocument/2006/relationships/slideLayout" Target="../slideLayouts/slideLayout272.xml"/><Relationship Id="rId42" Type="http://schemas.openxmlformats.org/officeDocument/2006/relationships/slideLayout" Target="../slideLayouts/slideLayout280.xml"/><Relationship Id="rId47" Type="http://schemas.openxmlformats.org/officeDocument/2006/relationships/slideLayout" Target="../slideLayouts/slideLayout285.xml"/><Relationship Id="rId50" Type="http://schemas.openxmlformats.org/officeDocument/2006/relationships/slideLayout" Target="../slideLayouts/slideLayout288.xml"/><Relationship Id="rId55" Type="http://schemas.openxmlformats.org/officeDocument/2006/relationships/slideLayout" Target="../slideLayouts/slideLayout293.xml"/><Relationship Id="rId63" Type="http://schemas.openxmlformats.org/officeDocument/2006/relationships/slideLayout" Target="../slideLayouts/slideLayout301.xml"/><Relationship Id="rId68" Type="http://schemas.openxmlformats.org/officeDocument/2006/relationships/slideLayout" Target="../slideLayouts/slideLayout306.xml"/><Relationship Id="rId7" Type="http://schemas.openxmlformats.org/officeDocument/2006/relationships/slideLayout" Target="../slideLayouts/slideLayout245.xml"/><Relationship Id="rId71" Type="http://schemas.openxmlformats.org/officeDocument/2006/relationships/slideLayout" Target="../slideLayouts/slideLayout309.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9" Type="http://schemas.openxmlformats.org/officeDocument/2006/relationships/slideLayout" Target="../slideLayouts/slideLayout267.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32" Type="http://schemas.openxmlformats.org/officeDocument/2006/relationships/slideLayout" Target="../slideLayouts/slideLayout270.xml"/><Relationship Id="rId37" Type="http://schemas.openxmlformats.org/officeDocument/2006/relationships/slideLayout" Target="../slideLayouts/slideLayout275.xml"/><Relationship Id="rId40" Type="http://schemas.openxmlformats.org/officeDocument/2006/relationships/slideLayout" Target="../slideLayouts/slideLayout278.xml"/><Relationship Id="rId45" Type="http://schemas.openxmlformats.org/officeDocument/2006/relationships/slideLayout" Target="../slideLayouts/slideLayout283.xml"/><Relationship Id="rId53" Type="http://schemas.openxmlformats.org/officeDocument/2006/relationships/slideLayout" Target="../slideLayouts/slideLayout291.xml"/><Relationship Id="rId58" Type="http://schemas.openxmlformats.org/officeDocument/2006/relationships/slideLayout" Target="../slideLayouts/slideLayout296.xml"/><Relationship Id="rId66" Type="http://schemas.openxmlformats.org/officeDocument/2006/relationships/slideLayout" Target="../slideLayouts/slideLayout304.xml"/><Relationship Id="rId74" Type="http://schemas.openxmlformats.org/officeDocument/2006/relationships/theme" Target="../theme/theme24.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36" Type="http://schemas.openxmlformats.org/officeDocument/2006/relationships/slideLayout" Target="../slideLayouts/slideLayout274.xml"/><Relationship Id="rId49" Type="http://schemas.openxmlformats.org/officeDocument/2006/relationships/slideLayout" Target="../slideLayouts/slideLayout287.xml"/><Relationship Id="rId57" Type="http://schemas.openxmlformats.org/officeDocument/2006/relationships/slideLayout" Target="../slideLayouts/slideLayout295.xml"/><Relationship Id="rId61" Type="http://schemas.openxmlformats.org/officeDocument/2006/relationships/slideLayout" Target="../slideLayouts/slideLayout299.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31" Type="http://schemas.openxmlformats.org/officeDocument/2006/relationships/slideLayout" Target="../slideLayouts/slideLayout269.xml"/><Relationship Id="rId44" Type="http://schemas.openxmlformats.org/officeDocument/2006/relationships/slideLayout" Target="../slideLayouts/slideLayout282.xml"/><Relationship Id="rId52" Type="http://schemas.openxmlformats.org/officeDocument/2006/relationships/slideLayout" Target="../slideLayouts/slideLayout290.xml"/><Relationship Id="rId60" Type="http://schemas.openxmlformats.org/officeDocument/2006/relationships/slideLayout" Target="../slideLayouts/slideLayout298.xml"/><Relationship Id="rId65" Type="http://schemas.openxmlformats.org/officeDocument/2006/relationships/slideLayout" Target="../slideLayouts/slideLayout303.xml"/><Relationship Id="rId73" Type="http://schemas.openxmlformats.org/officeDocument/2006/relationships/slideLayout" Target="../slideLayouts/slideLayout311.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slideLayout" Target="../slideLayouts/slideLayout268.xml"/><Relationship Id="rId35" Type="http://schemas.openxmlformats.org/officeDocument/2006/relationships/slideLayout" Target="../slideLayouts/slideLayout273.xml"/><Relationship Id="rId43" Type="http://schemas.openxmlformats.org/officeDocument/2006/relationships/slideLayout" Target="../slideLayouts/slideLayout281.xml"/><Relationship Id="rId48" Type="http://schemas.openxmlformats.org/officeDocument/2006/relationships/slideLayout" Target="../slideLayouts/slideLayout286.xml"/><Relationship Id="rId56" Type="http://schemas.openxmlformats.org/officeDocument/2006/relationships/slideLayout" Target="../slideLayouts/slideLayout294.xml"/><Relationship Id="rId64" Type="http://schemas.openxmlformats.org/officeDocument/2006/relationships/slideLayout" Target="../slideLayouts/slideLayout302.xml"/><Relationship Id="rId69" Type="http://schemas.openxmlformats.org/officeDocument/2006/relationships/slideLayout" Target="../slideLayouts/slideLayout307.xml"/><Relationship Id="rId8" Type="http://schemas.openxmlformats.org/officeDocument/2006/relationships/slideLayout" Target="../slideLayouts/slideLayout246.xml"/><Relationship Id="rId51" Type="http://schemas.openxmlformats.org/officeDocument/2006/relationships/slideLayout" Target="../slideLayouts/slideLayout289.xml"/><Relationship Id="rId72" Type="http://schemas.openxmlformats.org/officeDocument/2006/relationships/slideLayout" Target="../slideLayouts/slideLayout310.xml"/><Relationship Id="rId3" Type="http://schemas.openxmlformats.org/officeDocument/2006/relationships/slideLayout" Target="../slideLayouts/slideLayout241.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33" Type="http://schemas.openxmlformats.org/officeDocument/2006/relationships/slideLayout" Target="../slideLayouts/slideLayout271.xml"/><Relationship Id="rId38" Type="http://schemas.openxmlformats.org/officeDocument/2006/relationships/slideLayout" Target="../slideLayouts/slideLayout276.xml"/><Relationship Id="rId46" Type="http://schemas.openxmlformats.org/officeDocument/2006/relationships/slideLayout" Target="../slideLayouts/slideLayout284.xml"/><Relationship Id="rId59" Type="http://schemas.openxmlformats.org/officeDocument/2006/relationships/slideLayout" Target="../slideLayouts/slideLayout297.xml"/><Relationship Id="rId67" Type="http://schemas.openxmlformats.org/officeDocument/2006/relationships/slideLayout" Target="../slideLayouts/slideLayout305.xml"/><Relationship Id="rId20" Type="http://schemas.openxmlformats.org/officeDocument/2006/relationships/slideLayout" Target="../slideLayouts/slideLayout258.xml"/><Relationship Id="rId41" Type="http://schemas.openxmlformats.org/officeDocument/2006/relationships/slideLayout" Target="../slideLayouts/slideLayout279.xml"/><Relationship Id="rId54" Type="http://schemas.openxmlformats.org/officeDocument/2006/relationships/slideLayout" Target="../slideLayouts/slideLayout292.xml"/><Relationship Id="rId62" Type="http://schemas.openxmlformats.org/officeDocument/2006/relationships/slideLayout" Target="../slideLayouts/slideLayout300.xml"/><Relationship Id="rId70" Type="http://schemas.openxmlformats.org/officeDocument/2006/relationships/slideLayout" Target="../slideLayouts/slideLayout308.xml"/><Relationship Id="rId1" Type="http://schemas.openxmlformats.org/officeDocument/2006/relationships/slideLayout" Target="../slideLayouts/slideLayout239.xml"/><Relationship Id="rId6" Type="http://schemas.openxmlformats.org/officeDocument/2006/relationships/slideLayout" Target="../slideLayouts/slideLayout244.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slideLayout" Target="../slideLayouts/slideLayout337.xml"/><Relationship Id="rId39" Type="http://schemas.openxmlformats.org/officeDocument/2006/relationships/slideLayout" Target="../slideLayouts/slideLayout350.xml"/><Relationship Id="rId21" Type="http://schemas.openxmlformats.org/officeDocument/2006/relationships/slideLayout" Target="../slideLayouts/slideLayout332.xml"/><Relationship Id="rId34" Type="http://schemas.openxmlformats.org/officeDocument/2006/relationships/slideLayout" Target="../slideLayouts/slideLayout345.xml"/><Relationship Id="rId42" Type="http://schemas.openxmlformats.org/officeDocument/2006/relationships/slideLayout" Target="../slideLayouts/slideLayout353.xml"/><Relationship Id="rId47" Type="http://schemas.openxmlformats.org/officeDocument/2006/relationships/slideLayout" Target="../slideLayouts/slideLayout358.xml"/><Relationship Id="rId50" Type="http://schemas.openxmlformats.org/officeDocument/2006/relationships/slideLayout" Target="../slideLayouts/slideLayout361.xml"/><Relationship Id="rId55" Type="http://schemas.openxmlformats.org/officeDocument/2006/relationships/slideLayout" Target="../slideLayouts/slideLayout366.xml"/><Relationship Id="rId63" Type="http://schemas.openxmlformats.org/officeDocument/2006/relationships/slideLayout" Target="../slideLayouts/slideLayout374.xml"/><Relationship Id="rId68" Type="http://schemas.openxmlformats.org/officeDocument/2006/relationships/slideLayout" Target="../slideLayouts/slideLayout379.xml"/><Relationship Id="rId7" Type="http://schemas.openxmlformats.org/officeDocument/2006/relationships/slideLayout" Target="../slideLayouts/slideLayout318.xml"/><Relationship Id="rId71" Type="http://schemas.openxmlformats.org/officeDocument/2006/relationships/slideLayout" Target="../slideLayouts/slideLayout382.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9" Type="http://schemas.openxmlformats.org/officeDocument/2006/relationships/slideLayout" Target="../slideLayouts/slideLayout340.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32" Type="http://schemas.openxmlformats.org/officeDocument/2006/relationships/slideLayout" Target="../slideLayouts/slideLayout343.xml"/><Relationship Id="rId37" Type="http://schemas.openxmlformats.org/officeDocument/2006/relationships/slideLayout" Target="../slideLayouts/slideLayout348.xml"/><Relationship Id="rId40" Type="http://schemas.openxmlformats.org/officeDocument/2006/relationships/slideLayout" Target="../slideLayouts/slideLayout351.xml"/><Relationship Id="rId45" Type="http://schemas.openxmlformats.org/officeDocument/2006/relationships/slideLayout" Target="../slideLayouts/slideLayout356.xml"/><Relationship Id="rId53" Type="http://schemas.openxmlformats.org/officeDocument/2006/relationships/slideLayout" Target="../slideLayouts/slideLayout364.xml"/><Relationship Id="rId58" Type="http://schemas.openxmlformats.org/officeDocument/2006/relationships/slideLayout" Target="../slideLayouts/slideLayout369.xml"/><Relationship Id="rId66" Type="http://schemas.openxmlformats.org/officeDocument/2006/relationships/slideLayout" Target="../slideLayouts/slideLayout377.xml"/><Relationship Id="rId74" Type="http://schemas.openxmlformats.org/officeDocument/2006/relationships/theme" Target="../theme/theme2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28" Type="http://schemas.openxmlformats.org/officeDocument/2006/relationships/slideLayout" Target="../slideLayouts/slideLayout339.xml"/><Relationship Id="rId36" Type="http://schemas.openxmlformats.org/officeDocument/2006/relationships/slideLayout" Target="../slideLayouts/slideLayout347.xml"/><Relationship Id="rId49" Type="http://schemas.openxmlformats.org/officeDocument/2006/relationships/slideLayout" Target="../slideLayouts/slideLayout360.xml"/><Relationship Id="rId57" Type="http://schemas.openxmlformats.org/officeDocument/2006/relationships/slideLayout" Target="../slideLayouts/slideLayout368.xml"/><Relationship Id="rId61" Type="http://schemas.openxmlformats.org/officeDocument/2006/relationships/slideLayout" Target="../slideLayouts/slideLayout372.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31" Type="http://schemas.openxmlformats.org/officeDocument/2006/relationships/slideLayout" Target="../slideLayouts/slideLayout342.xml"/><Relationship Id="rId44" Type="http://schemas.openxmlformats.org/officeDocument/2006/relationships/slideLayout" Target="../slideLayouts/slideLayout355.xml"/><Relationship Id="rId52" Type="http://schemas.openxmlformats.org/officeDocument/2006/relationships/slideLayout" Target="../slideLayouts/slideLayout363.xml"/><Relationship Id="rId60" Type="http://schemas.openxmlformats.org/officeDocument/2006/relationships/slideLayout" Target="../slideLayouts/slideLayout371.xml"/><Relationship Id="rId65" Type="http://schemas.openxmlformats.org/officeDocument/2006/relationships/slideLayout" Target="../slideLayouts/slideLayout376.xml"/><Relationship Id="rId73" Type="http://schemas.openxmlformats.org/officeDocument/2006/relationships/slideLayout" Target="../slideLayouts/slideLayout384.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 Id="rId27" Type="http://schemas.openxmlformats.org/officeDocument/2006/relationships/slideLayout" Target="../slideLayouts/slideLayout338.xml"/><Relationship Id="rId30" Type="http://schemas.openxmlformats.org/officeDocument/2006/relationships/slideLayout" Target="../slideLayouts/slideLayout341.xml"/><Relationship Id="rId35" Type="http://schemas.openxmlformats.org/officeDocument/2006/relationships/slideLayout" Target="../slideLayouts/slideLayout346.xml"/><Relationship Id="rId43" Type="http://schemas.openxmlformats.org/officeDocument/2006/relationships/slideLayout" Target="../slideLayouts/slideLayout354.xml"/><Relationship Id="rId48" Type="http://schemas.openxmlformats.org/officeDocument/2006/relationships/slideLayout" Target="../slideLayouts/slideLayout359.xml"/><Relationship Id="rId56" Type="http://schemas.openxmlformats.org/officeDocument/2006/relationships/slideLayout" Target="../slideLayouts/slideLayout367.xml"/><Relationship Id="rId64" Type="http://schemas.openxmlformats.org/officeDocument/2006/relationships/slideLayout" Target="../slideLayouts/slideLayout375.xml"/><Relationship Id="rId69" Type="http://schemas.openxmlformats.org/officeDocument/2006/relationships/slideLayout" Target="../slideLayouts/slideLayout380.xml"/><Relationship Id="rId8" Type="http://schemas.openxmlformats.org/officeDocument/2006/relationships/slideLayout" Target="../slideLayouts/slideLayout319.xml"/><Relationship Id="rId51" Type="http://schemas.openxmlformats.org/officeDocument/2006/relationships/slideLayout" Target="../slideLayouts/slideLayout362.xml"/><Relationship Id="rId72" Type="http://schemas.openxmlformats.org/officeDocument/2006/relationships/slideLayout" Target="../slideLayouts/slideLayout383.xml"/><Relationship Id="rId3" Type="http://schemas.openxmlformats.org/officeDocument/2006/relationships/slideLayout" Target="../slideLayouts/slideLayout314.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slideLayout" Target="../slideLayouts/slideLayout336.xml"/><Relationship Id="rId33" Type="http://schemas.openxmlformats.org/officeDocument/2006/relationships/slideLayout" Target="../slideLayouts/slideLayout344.xml"/><Relationship Id="rId38" Type="http://schemas.openxmlformats.org/officeDocument/2006/relationships/slideLayout" Target="../slideLayouts/slideLayout349.xml"/><Relationship Id="rId46" Type="http://schemas.openxmlformats.org/officeDocument/2006/relationships/slideLayout" Target="../slideLayouts/slideLayout357.xml"/><Relationship Id="rId59" Type="http://schemas.openxmlformats.org/officeDocument/2006/relationships/slideLayout" Target="../slideLayouts/slideLayout370.xml"/><Relationship Id="rId67" Type="http://schemas.openxmlformats.org/officeDocument/2006/relationships/slideLayout" Target="../slideLayouts/slideLayout378.xml"/><Relationship Id="rId20" Type="http://schemas.openxmlformats.org/officeDocument/2006/relationships/slideLayout" Target="../slideLayouts/slideLayout331.xml"/><Relationship Id="rId41" Type="http://schemas.openxmlformats.org/officeDocument/2006/relationships/slideLayout" Target="../slideLayouts/slideLayout352.xml"/><Relationship Id="rId54" Type="http://schemas.openxmlformats.org/officeDocument/2006/relationships/slideLayout" Target="../slideLayouts/slideLayout365.xml"/><Relationship Id="rId62" Type="http://schemas.openxmlformats.org/officeDocument/2006/relationships/slideLayout" Target="../slideLayouts/slideLayout373.xml"/><Relationship Id="rId70" Type="http://schemas.openxmlformats.org/officeDocument/2006/relationships/slideLayout" Target="../slideLayouts/slideLayout381.xml"/><Relationship Id="rId1" Type="http://schemas.openxmlformats.org/officeDocument/2006/relationships/slideLayout" Target="../slideLayouts/slideLayout312.xml"/><Relationship Id="rId6" Type="http://schemas.openxmlformats.org/officeDocument/2006/relationships/slideLayout" Target="../slideLayouts/slideLayout31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715"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25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271"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92"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23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28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8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432"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45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480"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504"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528"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853" y="312612"/>
            <a:ext cx="10404708" cy="151839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92853" y="1831010"/>
            <a:ext cx="10404708" cy="4421219"/>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16540" y="6506783"/>
            <a:ext cx="391774" cy="297389"/>
          </a:xfrm>
          <a:prstGeom prst="rect">
            <a:avLst/>
          </a:prstGeom>
          <a:ln w="12700">
            <a:miter lim="400000"/>
          </a:ln>
        </p:spPr>
        <p:txBody>
          <a:bodyPr wrap="none" lIns="50800" tIns="50800" rIns="50800" bIns="50800">
            <a:spAutoFit/>
          </a:bodyPr>
          <a:lstStyle>
            <a:lvl1pPr>
              <a:defRPr sz="1266"/>
            </a:lvl1pPr>
          </a:lstStyle>
          <a:p>
            <a:fld id="{86CB4B4D-7CA3-9044-876B-883B54F8677D}" type="slidenum">
              <a:t>‹nr.›</a:t>
            </a:fld>
            <a:endParaRPr/>
          </a:p>
        </p:txBody>
      </p:sp>
    </p:spTree>
    <p:extLst>
      <p:ext uri="{BB962C8B-B14F-4D97-AF65-F5344CB8AC3E}">
        <p14:creationId xmlns:p14="http://schemas.microsoft.com/office/powerpoint/2010/main" val="168580320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Lst>
  <p:transition spd="med"/>
  <p:txStyles>
    <p:titleStyle>
      <a:lvl1pPr marL="0" marR="0" indent="0"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9pPr>
    </p:titleStyle>
    <p:bodyStyle>
      <a:lvl1pPr marL="31261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1pPr>
      <a:lvl2pPr marL="62523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2pPr>
      <a:lvl3pPr marL="93785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3pPr>
      <a:lvl4pPr marL="125046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4pPr>
      <a:lvl5pPr marL="156308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5pPr>
      <a:lvl6pPr marL="187570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6pPr>
      <a:lvl7pPr marL="2188318"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7pPr>
      <a:lvl8pPr marL="2500935"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8pPr>
      <a:lvl9pPr marL="2813552"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853" y="312612"/>
            <a:ext cx="10404708" cy="151839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92853" y="1831010"/>
            <a:ext cx="10404708" cy="4421219"/>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16540" y="6506783"/>
            <a:ext cx="391774" cy="297389"/>
          </a:xfrm>
          <a:prstGeom prst="rect">
            <a:avLst/>
          </a:prstGeom>
          <a:ln w="12700">
            <a:miter lim="400000"/>
          </a:ln>
        </p:spPr>
        <p:txBody>
          <a:bodyPr wrap="none" lIns="50800" tIns="50800" rIns="50800" bIns="50800">
            <a:spAutoFit/>
          </a:bodyPr>
          <a:lstStyle>
            <a:lvl1pPr>
              <a:defRPr sz="1266"/>
            </a:lvl1pPr>
          </a:lstStyle>
          <a:p>
            <a:fld id="{86CB4B4D-7CA3-9044-876B-883B54F8677D}" type="slidenum">
              <a:t>‹nr.›</a:t>
            </a:fld>
            <a:endParaRPr/>
          </a:p>
        </p:txBody>
      </p:sp>
    </p:spTree>
    <p:extLst>
      <p:ext uri="{BB962C8B-B14F-4D97-AF65-F5344CB8AC3E}">
        <p14:creationId xmlns:p14="http://schemas.microsoft.com/office/powerpoint/2010/main" val="256561606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 id="2147484066" r:id="rId49"/>
    <p:sldLayoutId id="2147484067" r:id="rId50"/>
    <p:sldLayoutId id="2147484068" r:id="rId51"/>
    <p:sldLayoutId id="2147484069" r:id="rId52"/>
    <p:sldLayoutId id="2147484070" r:id="rId53"/>
    <p:sldLayoutId id="2147484071" r:id="rId54"/>
    <p:sldLayoutId id="2147484072" r:id="rId55"/>
    <p:sldLayoutId id="2147484073" r:id="rId56"/>
    <p:sldLayoutId id="2147484074" r:id="rId57"/>
    <p:sldLayoutId id="2147484075" r:id="rId58"/>
    <p:sldLayoutId id="2147484076" r:id="rId59"/>
    <p:sldLayoutId id="2147484077" r:id="rId60"/>
    <p:sldLayoutId id="2147484078" r:id="rId61"/>
    <p:sldLayoutId id="2147484079" r:id="rId62"/>
    <p:sldLayoutId id="2147484080" r:id="rId63"/>
    <p:sldLayoutId id="2147484081" r:id="rId64"/>
    <p:sldLayoutId id="2147484082" r:id="rId65"/>
    <p:sldLayoutId id="2147484083" r:id="rId66"/>
    <p:sldLayoutId id="2147484084" r:id="rId67"/>
    <p:sldLayoutId id="2147484085" r:id="rId68"/>
    <p:sldLayoutId id="2147484086" r:id="rId69"/>
    <p:sldLayoutId id="2147484087" r:id="rId70"/>
    <p:sldLayoutId id="2147484088" r:id="rId71"/>
    <p:sldLayoutId id="2147484089" r:id="rId72"/>
    <p:sldLayoutId id="2147484090" r:id="rId73"/>
  </p:sldLayoutIdLst>
  <p:transition spd="med"/>
  <p:txStyles>
    <p:titleStyle>
      <a:lvl1pPr marL="0" marR="0" indent="0"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9pPr>
    </p:titleStyle>
    <p:bodyStyle>
      <a:lvl1pPr marL="31261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1pPr>
      <a:lvl2pPr marL="62523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2pPr>
      <a:lvl3pPr marL="93785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3pPr>
      <a:lvl4pPr marL="125046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4pPr>
      <a:lvl5pPr marL="156308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5pPr>
      <a:lvl6pPr marL="187570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6pPr>
      <a:lvl7pPr marL="2188318"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7pPr>
      <a:lvl8pPr marL="2500935"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8pPr>
      <a:lvl9pPr marL="2813552"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75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9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99"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82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90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1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1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25.jp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png"/><Relationship Id="rId1" Type="http://schemas.openxmlformats.org/officeDocument/2006/relationships/slideLayout" Target="../slideLayouts/slideLayout70.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5.pn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50.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8.xml"/></Relationships>
</file>

<file path=ppt/slides/_rels/slide2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323.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62.jpeg"/><Relationship Id="rId1" Type="http://schemas.openxmlformats.org/officeDocument/2006/relationships/slideLayout" Target="../slideLayouts/slideLayout340.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17.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9.xml"/></Relationships>
</file>

<file path=ppt/slides/_rels/slide3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4.xml"/><Relationship Id="rId1" Type="http://schemas.openxmlformats.org/officeDocument/2006/relationships/slideLayout" Target="../slideLayouts/slideLayout334.xml"/><Relationship Id="rId6" Type="http://schemas.openxmlformats.org/officeDocument/2006/relationships/image" Target="../media/image65.png"/><Relationship Id="rId5" Type="http://schemas.openxmlformats.org/officeDocument/2006/relationships/image" Target="../media/image64.tif"/><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65.xml"/></Relationships>
</file>

<file path=ppt/slides/_rels/slide3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8.xml"/></Relationships>
</file>

<file path=ppt/slides/_rels/slide3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3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7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2.jpe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19.xml"/><Relationship Id="rId1" Type="http://schemas.openxmlformats.org/officeDocument/2006/relationships/slideLayout" Target="../slideLayouts/slideLayout68.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jpeg"/><Relationship Id="rId15" Type="http://schemas.openxmlformats.org/officeDocument/2006/relationships/image" Target="../media/image83.png"/><Relationship Id="rId10" Type="http://schemas.openxmlformats.org/officeDocument/2006/relationships/image" Target="../media/image78.png"/><Relationship Id="rId4"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9" Type="http://schemas.openxmlformats.org/officeDocument/2006/relationships/image" Target="../media/image77.png"/><Relationship Id="rId1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68.xml"/></Relationships>
</file>

<file path=ppt/slides/_rels/slide4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69.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30.jpeg"/><Relationship Id="rId5" Type="http://schemas.microsoft.com/office/2007/relationships/hdphoto" Target="../media/hdphoto2.wdp"/><Relationship Id="rId4" Type="http://schemas.openxmlformats.org/officeDocument/2006/relationships/image" Target="../media/image29.jpe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a:xfrm>
            <a:off x="11010820" y="6041481"/>
            <a:ext cx="395389" cy="365210"/>
          </a:xfrm>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700253"/>
            <a:ext cx="12190413" cy="1792798"/>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a:t>
            </a:r>
            <a:endParaRPr lang="en-US" sz="2800" dirty="0" smtClean="0">
              <a:solidFill>
                <a:prstClr val="white"/>
              </a:solidFill>
            </a:endParaRPr>
          </a:p>
          <a:p>
            <a:pPr lvl="1"/>
            <a:r>
              <a:rPr lang="en-US" sz="2800" dirty="0" smtClean="0">
                <a:solidFill>
                  <a:prstClr val="white"/>
                </a:solidFill>
              </a:rPr>
              <a:t>research </a:t>
            </a:r>
            <a:r>
              <a:rPr lang="en-US" sz="2800" dirty="0">
                <a:solidFill>
                  <a:prstClr val="white"/>
                </a:solidFill>
              </a:rPr>
              <a:t>and </a:t>
            </a:r>
            <a:r>
              <a:rPr lang="en-US" sz="2800" dirty="0" smtClean="0">
                <a:solidFill>
                  <a:prstClr val="white"/>
                </a:solidFill>
              </a:rPr>
              <a:t>innovation</a:t>
            </a:r>
          </a:p>
          <a:p>
            <a:pPr lvl="1"/>
            <a:endParaRPr lang="da-DK" sz="1200" b="1" dirty="0" smtClean="0">
              <a:solidFill>
                <a:prstClr val="white"/>
              </a:solidFill>
            </a:endParaRPr>
          </a:p>
          <a:p>
            <a:pPr lvl="1"/>
            <a:r>
              <a:rPr lang="da-DK" sz="1400" b="1" dirty="0" smtClean="0">
                <a:solidFill>
                  <a:prstClr val="white"/>
                </a:solidFill>
              </a:rPr>
              <a:t>EVP </a:t>
            </a:r>
            <a:r>
              <a:rPr lang="da-DK" sz="1400" b="1" dirty="0">
                <a:solidFill>
                  <a:prstClr val="white"/>
                </a:solidFill>
              </a:rPr>
              <a:t>Tore Duvold, </a:t>
            </a:r>
            <a:r>
              <a:rPr lang="da-DK" sz="1400" b="1" dirty="0" smtClean="0">
                <a:solidFill>
                  <a:prstClr val="white"/>
                </a:solidFill>
              </a:rPr>
              <a:t>29 </a:t>
            </a:r>
            <a:r>
              <a:rPr lang="da-DK" sz="1400" b="1" dirty="0">
                <a:solidFill>
                  <a:prstClr val="white"/>
                </a:solidFill>
              </a:rPr>
              <a:t>November 2018</a:t>
            </a:r>
          </a:p>
          <a:p>
            <a:endParaRPr lang="da-DK" sz="1050" noProof="0" dirty="0" smtClean="0">
              <a:solidFill>
                <a:schemeClr val="bg1"/>
              </a:solidFill>
            </a:endParaRPr>
          </a:p>
        </p:txBody>
      </p:sp>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51448" y="5271289"/>
            <a:ext cx="4463026" cy="139469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Billed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53866" y="4709029"/>
            <a:ext cx="6533181" cy="718650"/>
          </a:xfrm>
          <a:prstGeom prst="rect">
            <a:avLst/>
          </a:prstGeom>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28/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10</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a14="http://schemas.microsoft.com/office/drawing/2010/main" xmlns="">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a14="http://schemas.microsoft.com/office/drawing/2010/main" xmlns="">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a14="http://schemas.microsoft.com/office/drawing/2010/main" xmlns="">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latin typeface="+mn-lt"/>
              </a:rPr>
              <a:t>Grand Solutions </a:t>
            </a:r>
            <a:r>
              <a:rPr lang="da-DK" dirty="0" smtClean="0">
                <a:latin typeface="+mn-lt"/>
              </a:rPr>
              <a:t>2019 + DKK </a:t>
            </a:r>
            <a:r>
              <a:rPr lang="da-DK" dirty="0" smtClean="0">
                <a:latin typeface="+mn-lt"/>
              </a:rPr>
              <a:t>700m</a:t>
            </a:r>
            <a:r>
              <a:rPr lang="da-DK" dirty="0" smtClean="0">
                <a:latin typeface="+mn-lt"/>
              </a:rPr>
              <a:t/>
            </a:r>
            <a:br>
              <a:rPr lang="da-DK" dirty="0" smtClean="0">
                <a:latin typeface="+mn-lt"/>
              </a:rPr>
            </a:br>
            <a:r>
              <a:rPr lang="da-DK" sz="1800" i="1" dirty="0" err="1" smtClean="0">
                <a:latin typeface="+mn-lt"/>
              </a:rPr>
              <a:t>Pending</a:t>
            </a:r>
            <a:r>
              <a:rPr lang="da-DK" sz="1800" i="1" dirty="0" smtClean="0">
                <a:latin typeface="+mn-lt"/>
              </a:rPr>
              <a:t> </a:t>
            </a:r>
            <a:r>
              <a:rPr lang="da-DK" sz="1800" i="1" dirty="0" err="1" smtClean="0">
                <a:latin typeface="+mn-lt"/>
              </a:rPr>
              <a:t>fiscal</a:t>
            </a:r>
            <a:r>
              <a:rPr lang="da-DK" sz="1800" i="1" dirty="0" smtClean="0">
                <a:latin typeface="+mn-lt"/>
              </a:rPr>
              <a:t> </a:t>
            </a:r>
            <a:r>
              <a:rPr lang="da-DK" sz="1800" i="1" dirty="0" err="1" smtClean="0">
                <a:latin typeface="+mn-lt"/>
              </a:rPr>
              <a:t>law</a:t>
            </a:r>
            <a:r>
              <a:rPr lang="da-DK" sz="1800" i="1" dirty="0" smtClean="0">
                <a:latin typeface="+mn-lt"/>
              </a:rPr>
              <a:t> </a:t>
            </a:r>
            <a:r>
              <a:rPr lang="da-DK" sz="1800" i="1" dirty="0" err="1" smtClean="0">
                <a:latin typeface="+mn-lt"/>
              </a:rPr>
              <a:t>approval</a:t>
            </a:r>
            <a:endParaRPr lang="da-DK" sz="900" b="0" i="1" dirty="0">
              <a:latin typeface="+mn-lt"/>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pPr/>
              <a:t>11</a:t>
            </a:fld>
            <a:endParaRPr lang="da-DK" dirty="0"/>
          </a:p>
        </p:txBody>
      </p:sp>
      <p:sp>
        <p:nvSpPr>
          <p:cNvPr id="3" name="Rektangel 2"/>
          <p:cNvSpPr/>
          <p:nvPr/>
        </p:nvSpPr>
        <p:spPr>
          <a:xfrm>
            <a:off x="783814" y="3007226"/>
            <a:ext cx="4666890" cy="1361570"/>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t"/>
          <a:lstStyle/>
          <a:p>
            <a:r>
              <a:rPr lang="da-DK" sz="2400" b="1" dirty="0" smtClean="0">
                <a:solidFill>
                  <a:schemeClr val="bg1"/>
                </a:solidFill>
              </a:rPr>
              <a:t>Green Growth</a:t>
            </a:r>
            <a:endParaRPr lang="da-DK" sz="1400" dirty="0" smtClean="0">
              <a:solidFill>
                <a:schemeClr val="bg1"/>
              </a:solidFill>
            </a:endParaRPr>
          </a:p>
          <a:p>
            <a:r>
              <a:rPr lang="da-DK" sz="1400" dirty="0" err="1">
                <a:solidFill>
                  <a:schemeClr val="bg1"/>
                </a:solidFill>
              </a:rPr>
              <a:t>E</a:t>
            </a:r>
            <a:r>
              <a:rPr lang="da-DK" sz="1400" dirty="0" err="1" smtClean="0">
                <a:solidFill>
                  <a:schemeClr val="bg1"/>
                </a:solidFill>
              </a:rPr>
              <a:t>.g</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nergy</a:t>
            </a:r>
            <a:r>
              <a:rPr lang="da-DK" sz="1400" dirty="0">
                <a:solidFill>
                  <a:schemeClr val="bg1"/>
                </a:solidFill>
              </a:rPr>
              <a:t>, </a:t>
            </a:r>
            <a:r>
              <a:rPr lang="da-DK" sz="1400" dirty="0" err="1" smtClean="0">
                <a:solidFill>
                  <a:schemeClr val="bg1"/>
                </a:solidFill>
              </a:rPr>
              <a:t>climate</a:t>
            </a:r>
            <a:r>
              <a:rPr lang="da-DK" sz="1400" dirty="0" smtClean="0">
                <a:solidFill>
                  <a:schemeClr val="bg1"/>
                </a:solidFill>
              </a:rPr>
              <a:t>, </a:t>
            </a:r>
            <a:r>
              <a:rPr lang="da-DK" sz="1400" dirty="0" err="1" smtClean="0">
                <a:solidFill>
                  <a:schemeClr val="bg1"/>
                </a:solidFill>
              </a:rPr>
              <a:t>environment</a:t>
            </a:r>
            <a:r>
              <a:rPr lang="da-DK" sz="1400" dirty="0">
                <a:solidFill>
                  <a:schemeClr val="bg1"/>
                </a:solidFill>
              </a:rPr>
              <a:t>, </a:t>
            </a:r>
            <a:r>
              <a:rPr lang="da-DK" sz="1400" dirty="0" err="1">
                <a:solidFill>
                  <a:schemeClr val="bg1"/>
                </a:solidFill>
              </a:rPr>
              <a:t>agriculture</a:t>
            </a:r>
            <a:r>
              <a:rPr lang="da-DK" sz="1400" dirty="0">
                <a:solidFill>
                  <a:schemeClr val="bg1"/>
                </a:solidFill>
              </a:rPr>
              <a:t> greenhouse gas </a:t>
            </a:r>
            <a:r>
              <a:rPr lang="da-DK" sz="1400" dirty="0" err="1">
                <a:solidFill>
                  <a:schemeClr val="bg1"/>
                </a:solidFill>
              </a:rPr>
              <a:t>reduction</a:t>
            </a:r>
            <a:r>
              <a:rPr lang="da-DK" sz="1400" dirty="0">
                <a:solidFill>
                  <a:schemeClr val="bg1"/>
                </a:solidFill>
              </a:rPr>
              <a:t>, </a:t>
            </a:r>
            <a:r>
              <a:rPr lang="da-DK" sz="1400" dirty="0" smtClean="0">
                <a:solidFill>
                  <a:schemeClr val="bg1"/>
                </a:solidFill>
              </a:rPr>
              <a:t>intelligent </a:t>
            </a:r>
            <a:r>
              <a:rPr lang="da-DK" sz="1400" dirty="0" err="1" smtClean="0">
                <a:solidFill>
                  <a:schemeClr val="bg1"/>
                </a:solidFill>
              </a:rPr>
              <a:t>food</a:t>
            </a:r>
            <a:r>
              <a:rPr lang="da-DK" sz="1400" dirty="0" smtClean="0">
                <a:solidFill>
                  <a:schemeClr val="bg1"/>
                </a:solidFill>
              </a:rPr>
              <a:t> </a:t>
            </a:r>
            <a:r>
              <a:rPr lang="da-DK" sz="1400" dirty="0" err="1" smtClean="0">
                <a:solidFill>
                  <a:schemeClr val="bg1"/>
                </a:solidFill>
              </a:rPr>
              <a:t>production</a:t>
            </a:r>
            <a:r>
              <a:rPr lang="da-DK" sz="1400" dirty="0" smtClean="0">
                <a:solidFill>
                  <a:schemeClr val="bg1"/>
                </a:solidFill>
              </a:rPr>
              <a:t>, </a:t>
            </a:r>
            <a:r>
              <a:rPr lang="da-DK" sz="1400" dirty="0" err="1" smtClean="0">
                <a:solidFill>
                  <a:schemeClr val="bg1"/>
                </a:solidFill>
              </a:rPr>
              <a:t>efficient</a:t>
            </a:r>
            <a:r>
              <a:rPr lang="da-DK" sz="1400" dirty="0" smtClean="0">
                <a:solidFill>
                  <a:schemeClr val="bg1"/>
                </a:solidFill>
              </a:rPr>
              <a:t> transport, </a:t>
            </a:r>
            <a:r>
              <a:rPr lang="da-DK" sz="1400" dirty="0" err="1" smtClean="0">
                <a:solidFill>
                  <a:schemeClr val="bg1"/>
                </a:solidFill>
              </a:rPr>
              <a:t>aquaculture</a:t>
            </a:r>
            <a:r>
              <a:rPr lang="da-DK" sz="1400" dirty="0" smtClean="0">
                <a:solidFill>
                  <a:schemeClr val="bg1"/>
                </a:solidFill>
              </a:rPr>
              <a:t>, </a:t>
            </a:r>
            <a:r>
              <a:rPr lang="da-DK" sz="1400" dirty="0" err="1" smtClean="0">
                <a:solidFill>
                  <a:schemeClr val="bg1"/>
                </a:solidFill>
              </a:rPr>
              <a:t>circular</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conomy</a:t>
            </a:r>
            <a:r>
              <a:rPr lang="da-DK" sz="1400" dirty="0" smtClean="0">
                <a:solidFill>
                  <a:schemeClr val="bg1"/>
                </a:solidFill>
              </a:rPr>
              <a:t>, bio/marine ressources, AMR, </a:t>
            </a:r>
            <a:r>
              <a:rPr lang="da-DK" sz="1400" dirty="0" err="1" smtClean="0">
                <a:solidFill>
                  <a:schemeClr val="bg1"/>
                </a:solidFill>
              </a:rPr>
              <a:t>microplastics</a:t>
            </a:r>
            <a:r>
              <a:rPr lang="da-DK" sz="1400" dirty="0" smtClean="0">
                <a:solidFill>
                  <a:schemeClr val="bg1"/>
                </a:solidFill>
              </a:rPr>
              <a:t> etc.</a:t>
            </a:r>
            <a:endParaRPr lang="da-DK" sz="1400" b="1" dirty="0">
              <a:solidFill>
                <a:schemeClr val="bg1"/>
              </a:solidFill>
            </a:endParaRPr>
          </a:p>
        </p:txBody>
      </p:sp>
      <p:sp>
        <p:nvSpPr>
          <p:cNvPr id="12" name="Rektangel 11"/>
          <p:cNvSpPr/>
          <p:nvPr/>
        </p:nvSpPr>
        <p:spPr>
          <a:xfrm>
            <a:off x="783815" y="4431863"/>
            <a:ext cx="4666890" cy="183936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2400" b="1" dirty="0" smtClean="0">
                <a:solidFill>
                  <a:schemeClr val="bg1"/>
                </a:solidFill>
              </a:rPr>
              <a:t>New </a:t>
            </a:r>
            <a:r>
              <a:rPr lang="da-DK" sz="2400" b="1" dirty="0" err="1">
                <a:solidFill>
                  <a:schemeClr val="bg1"/>
                </a:solidFill>
              </a:rPr>
              <a:t>Technological</a:t>
            </a:r>
            <a:r>
              <a:rPr lang="da-DK" sz="2400" b="1" dirty="0">
                <a:solidFill>
                  <a:schemeClr val="bg1"/>
                </a:solidFill>
              </a:rPr>
              <a:t> </a:t>
            </a:r>
            <a:r>
              <a:rPr lang="da-DK" sz="2400" b="1" dirty="0" err="1" smtClean="0">
                <a:solidFill>
                  <a:schemeClr val="bg1"/>
                </a:solidFill>
              </a:rPr>
              <a:t>Opportunities</a:t>
            </a:r>
            <a:endParaRPr lang="da-DK" sz="1400" dirty="0" smtClean="0">
              <a:solidFill>
                <a:schemeClr val="bg1"/>
              </a:solidFill>
            </a:endParaRPr>
          </a:p>
          <a:p>
            <a:r>
              <a:rPr lang="da-DK" sz="1400" dirty="0" err="1" smtClean="0">
                <a:solidFill>
                  <a:schemeClr val="bg1"/>
                </a:solidFill>
              </a:rPr>
              <a:t>Also</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 </a:t>
            </a:r>
            <a:r>
              <a:rPr lang="da-DK" sz="1400" dirty="0" err="1" smtClean="0">
                <a:solidFill>
                  <a:schemeClr val="bg1"/>
                </a:solidFill>
              </a:rPr>
              <a:t>IoT</a:t>
            </a:r>
            <a:r>
              <a:rPr lang="da-DK" sz="1400" dirty="0" smtClean="0">
                <a:solidFill>
                  <a:schemeClr val="bg1"/>
                </a:solidFill>
              </a:rPr>
              <a:t>, AI, </a:t>
            </a:r>
            <a:r>
              <a:rPr lang="da-DK" sz="1400" dirty="0" err="1" smtClean="0">
                <a:solidFill>
                  <a:schemeClr val="bg1"/>
                </a:solidFill>
              </a:rPr>
              <a:t>BlockChain</a:t>
            </a:r>
            <a:r>
              <a:rPr lang="da-DK" sz="1400" dirty="0" smtClean="0">
                <a:solidFill>
                  <a:schemeClr val="bg1"/>
                </a:solidFill>
              </a:rPr>
              <a:t>, Big Data, Quantum </a:t>
            </a:r>
            <a:r>
              <a:rPr lang="da-DK" sz="1400" dirty="0" err="1" smtClean="0">
                <a:solidFill>
                  <a:schemeClr val="bg1"/>
                </a:solidFill>
              </a:rPr>
              <a:t>technologies</a:t>
            </a:r>
            <a:r>
              <a:rPr lang="da-DK" sz="1400" dirty="0" smtClean="0">
                <a:solidFill>
                  <a:schemeClr val="bg1"/>
                </a:solidFill>
              </a:rPr>
              <a:t>, Industri 4.0,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soft</a:t>
            </a:r>
            <a:r>
              <a:rPr lang="da-DK" sz="1400" dirty="0" smtClean="0">
                <a:solidFill>
                  <a:schemeClr val="bg1"/>
                </a:solidFill>
              </a:rPr>
              <a:t> and </a:t>
            </a:r>
            <a:r>
              <a:rPr lang="da-DK" sz="1400" dirty="0" err="1" smtClean="0">
                <a:solidFill>
                  <a:schemeClr val="bg1"/>
                </a:solidFill>
              </a:rPr>
              <a:t>hard</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bio and </a:t>
            </a:r>
            <a:r>
              <a:rPr lang="da-DK" sz="1400" dirty="0" err="1" smtClean="0">
                <a:solidFill>
                  <a:schemeClr val="bg1"/>
                </a:solidFill>
              </a:rPr>
              <a:t>life</a:t>
            </a:r>
            <a:r>
              <a:rPr lang="da-DK" sz="1400" dirty="0" smtClean="0">
                <a:solidFill>
                  <a:schemeClr val="bg1"/>
                </a:solidFill>
              </a:rPr>
              <a:t> science,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a:solidFill>
                  <a:schemeClr val="bg1"/>
                </a:solidFill>
              </a:rPr>
              <a:t>, </a:t>
            </a:r>
            <a:r>
              <a:rPr lang="da-DK" sz="1400" dirty="0" err="1">
                <a:solidFill>
                  <a:schemeClr val="bg1"/>
                </a:solidFill>
              </a:rPr>
              <a:t>reduced</a:t>
            </a:r>
            <a:r>
              <a:rPr lang="da-DK" sz="1400" dirty="0">
                <a:solidFill>
                  <a:schemeClr val="bg1"/>
                </a:solidFill>
              </a:rPr>
              <a:t> </a:t>
            </a:r>
            <a:r>
              <a:rPr lang="da-DK" sz="1400" dirty="0" err="1">
                <a:solidFill>
                  <a:schemeClr val="bg1"/>
                </a:solidFill>
              </a:rPr>
              <a:t>physical</a:t>
            </a:r>
            <a:r>
              <a:rPr lang="da-DK" sz="1400" dirty="0">
                <a:solidFill>
                  <a:schemeClr val="bg1"/>
                </a:solidFill>
              </a:rPr>
              <a:t> </a:t>
            </a:r>
            <a:r>
              <a:rPr lang="da-DK" sz="1400" dirty="0" err="1">
                <a:solidFill>
                  <a:schemeClr val="bg1"/>
                </a:solidFill>
              </a:rPr>
              <a:t>work</a:t>
            </a:r>
            <a:r>
              <a:rPr lang="da-DK" sz="1400" dirty="0">
                <a:solidFill>
                  <a:schemeClr val="bg1"/>
                </a:solidFill>
              </a:rPr>
              <a:t> </a:t>
            </a:r>
            <a:r>
              <a:rPr lang="da-DK" sz="1400" dirty="0" smtClean="0">
                <a:solidFill>
                  <a:schemeClr val="bg1"/>
                </a:solidFill>
              </a:rPr>
              <a:t>load, etc.</a:t>
            </a:r>
            <a:endParaRPr lang="da-DK" sz="2000" dirty="0">
              <a:solidFill>
                <a:schemeClr val="bg1"/>
              </a:solidFill>
            </a:endParaRPr>
          </a:p>
        </p:txBody>
      </p:sp>
      <p:sp>
        <p:nvSpPr>
          <p:cNvPr id="13" name="Rektangel 12"/>
          <p:cNvSpPr/>
          <p:nvPr/>
        </p:nvSpPr>
        <p:spPr>
          <a:xfrm>
            <a:off x="783814" y="1365952"/>
            <a:ext cx="4666890" cy="1591733"/>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Better Health</a:t>
            </a:r>
            <a:endParaRPr lang="en-US" sz="1600" dirty="0" smtClean="0">
              <a:solidFill>
                <a:schemeClr val="bg1"/>
              </a:solidFill>
            </a:endParaRPr>
          </a:p>
          <a:p>
            <a:r>
              <a:rPr lang="en-US" sz="1400" dirty="0">
                <a:solidFill>
                  <a:schemeClr val="bg1"/>
                </a:solidFill>
              </a:rPr>
              <a:t>E</a:t>
            </a:r>
            <a:r>
              <a:rPr lang="en-US" sz="1400" dirty="0" smtClean="0">
                <a:solidFill>
                  <a:schemeClr val="bg1"/>
                </a:solidFill>
              </a:rPr>
              <a:t>.g. psychiatry, antimicrobial resistance, diagnostics, </a:t>
            </a:r>
            <a:r>
              <a:rPr lang="en-US" sz="1400" dirty="0" err="1" smtClean="0">
                <a:solidFill>
                  <a:schemeClr val="bg1"/>
                </a:solidFill>
              </a:rPr>
              <a:t>PerMed</a:t>
            </a:r>
            <a:r>
              <a:rPr lang="en-US" sz="1400" dirty="0" smtClean="0">
                <a:solidFill>
                  <a:schemeClr val="bg1"/>
                </a:solidFill>
              </a:rPr>
              <a:t>, prevention, vaccines, microbiome, medico technologies, </a:t>
            </a:r>
            <a:r>
              <a:rPr lang="en-US" sz="1400" dirty="0" err="1" smtClean="0">
                <a:solidFill>
                  <a:schemeClr val="bg1"/>
                </a:solidFill>
              </a:rPr>
              <a:t>etc</a:t>
            </a:r>
            <a:endParaRPr lang="en-US" sz="1400" dirty="0" smtClean="0">
              <a:solidFill>
                <a:schemeClr val="bg1"/>
              </a:solidFill>
            </a:endParaRPr>
          </a:p>
          <a:p>
            <a:r>
              <a:rPr lang="en-US" sz="1400" dirty="0">
                <a:solidFill>
                  <a:schemeClr val="bg1"/>
                </a:solidFill>
              </a:rPr>
              <a:t>Including a citizen-based and technology-supported health </a:t>
            </a:r>
            <a:r>
              <a:rPr lang="en-US" sz="1400" dirty="0" smtClean="0">
                <a:solidFill>
                  <a:schemeClr val="bg1"/>
                </a:solidFill>
              </a:rPr>
              <a:t>care system</a:t>
            </a:r>
            <a:r>
              <a:rPr lang="en-US" sz="1400" dirty="0">
                <a:solidFill>
                  <a:schemeClr val="bg1"/>
                </a:solidFill>
              </a:rPr>
              <a:t>. </a:t>
            </a:r>
            <a:endParaRPr lang="en-US" sz="3200" b="1" dirty="0">
              <a:solidFill>
                <a:schemeClr val="bg1"/>
              </a:solidFill>
            </a:endParaRPr>
          </a:p>
        </p:txBody>
      </p:sp>
      <p:sp>
        <p:nvSpPr>
          <p:cNvPr id="14" name="Rektangel 13"/>
          <p:cNvSpPr/>
          <p:nvPr/>
        </p:nvSpPr>
        <p:spPr>
          <a:xfrm>
            <a:off x="5532355" y="1381626"/>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A national </a:t>
            </a:r>
            <a:r>
              <a:rPr lang="da-DK" sz="2400" b="1" dirty="0" err="1">
                <a:solidFill>
                  <a:schemeClr val="bg1"/>
                </a:solidFill>
              </a:rPr>
              <a:t>digitalization</a:t>
            </a:r>
            <a:r>
              <a:rPr lang="da-DK" sz="2400" b="1" dirty="0">
                <a:solidFill>
                  <a:schemeClr val="bg1"/>
                </a:solidFill>
              </a:rPr>
              <a:t> research center </a:t>
            </a:r>
            <a:r>
              <a:rPr lang="da-DK" sz="1600" dirty="0" smtClean="0">
                <a:solidFill>
                  <a:schemeClr val="bg1"/>
                </a:solidFill>
              </a:rPr>
              <a:t>(100 </a:t>
            </a:r>
            <a:r>
              <a:rPr lang="da-DK" sz="1600" dirty="0">
                <a:solidFill>
                  <a:schemeClr val="bg1"/>
                </a:solidFill>
              </a:rPr>
              <a:t>mio. DKK) </a:t>
            </a: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5" name="Rektangel 14"/>
          <p:cNvSpPr/>
          <p:nvPr/>
        </p:nvSpPr>
        <p:spPr>
          <a:xfrm>
            <a:off x="5532355" y="5254324"/>
            <a:ext cx="4986067" cy="1017083"/>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rPr>
              <a:t>Open </a:t>
            </a:r>
            <a:r>
              <a:rPr lang="da-DK" sz="2400" b="1" dirty="0" err="1">
                <a:solidFill>
                  <a:schemeClr val="bg1"/>
                </a:solidFill>
              </a:rPr>
              <a:t>call</a:t>
            </a:r>
            <a:r>
              <a:rPr lang="da-DK" sz="2400" b="1" dirty="0">
                <a:solidFill>
                  <a:schemeClr val="bg1"/>
                </a:solidFill>
              </a:rPr>
              <a:t> </a:t>
            </a:r>
          </a:p>
        </p:txBody>
      </p:sp>
      <p:sp>
        <p:nvSpPr>
          <p:cNvPr id="9" name="Rektangel 8"/>
          <p:cNvSpPr/>
          <p:nvPr/>
        </p:nvSpPr>
        <p:spPr>
          <a:xfrm>
            <a:off x="5532354" y="2661932"/>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New </a:t>
            </a:r>
            <a:r>
              <a:rPr lang="da-DK" sz="2400" b="1" dirty="0" err="1" smtClean="0">
                <a:solidFill>
                  <a:schemeClr val="bg1"/>
                </a:solidFill>
              </a:rPr>
              <a:t>technologies</a:t>
            </a:r>
            <a:r>
              <a:rPr lang="da-DK" sz="2400" b="1" dirty="0" smtClean="0">
                <a:solidFill>
                  <a:schemeClr val="bg1"/>
                </a:solidFill>
              </a:rPr>
              <a:t> for future </a:t>
            </a:r>
            <a:r>
              <a:rPr lang="da-DK" sz="2400" b="1" dirty="0" err="1" smtClean="0">
                <a:solidFill>
                  <a:schemeClr val="bg1"/>
                </a:solidFill>
              </a:rPr>
              <a:t>education</a:t>
            </a:r>
            <a:endParaRPr lang="da-DK" sz="1600" dirty="0">
              <a:solidFill>
                <a:schemeClr val="bg1"/>
              </a:solidFill>
            </a:endParaRP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0" name="Rektangel 9"/>
          <p:cNvSpPr/>
          <p:nvPr/>
        </p:nvSpPr>
        <p:spPr>
          <a:xfrm>
            <a:off x="5532355" y="3953527"/>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err="1" smtClean="0">
                <a:solidFill>
                  <a:schemeClr val="bg1"/>
                </a:solidFill>
              </a:rPr>
              <a:t>Circular</a:t>
            </a:r>
            <a:r>
              <a:rPr lang="da-DK" sz="2400" b="1" dirty="0" smtClean="0">
                <a:solidFill>
                  <a:schemeClr val="bg1"/>
                </a:solidFill>
              </a:rPr>
              <a:t> </a:t>
            </a:r>
            <a:r>
              <a:rPr lang="da-DK" sz="2400" b="1" dirty="0" err="1" smtClean="0">
                <a:solidFill>
                  <a:schemeClr val="bg1"/>
                </a:solidFill>
              </a:rPr>
              <a:t>economy</a:t>
            </a:r>
            <a:r>
              <a:rPr lang="da-DK" sz="2400" b="1" dirty="0" smtClean="0">
                <a:solidFill>
                  <a:schemeClr val="bg1"/>
                </a:solidFill>
              </a:rPr>
              <a:t> and plastic solutions</a:t>
            </a:r>
            <a:endParaRPr lang="da-DK" sz="1600" dirty="0">
              <a:solidFill>
                <a:schemeClr val="bg1"/>
              </a:solidFill>
            </a:endParaRP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Tree>
    <p:extLst>
      <p:ext uri="{BB962C8B-B14F-4D97-AF65-F5344CB8AC3E}">
        <p14:creationId xmlns:p14="http://schemas.microsoft.com/office/powerpoint/2010/main" val="4037615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4004637"/>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2</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1342093"/>
            <a:ext cx="1788122" cy="2077423"/>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2079416"/>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781906"/>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266730"/>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56216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2110194"/>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859285"/>
            <a:ext cx="1540806" cy="338554"/>
          </a:xfrm>
          <a:prstGeom prst="rect">
            <a:avLst/>
          </a:prstGeom>
        </p:spPr>
        <p:txBody>
          <a:bodyPr wrap="none">
            <a:spAutoFit/>
          </a:bodyPr>
          <a:lstStyle/>
          <a:p>
            <a:r>
              <a:rPr lang="da-DK" sz="1600" dirty="0">
                <a:solidFill>
                  <a:schemeClr val="bg1"/>
                </a:solidFill>
              </a:rPr>
              <a:t>Green Growth </a:t>
            </a:r>
          </a:p>
        </p:txBody>
      </p:sp>
      <p:sp>
        <p:nvSpPr>
          <p:cNvPr id="13" name="Rektangel 12"/>
          <p:cNvSpPr/>
          <p:nvPr/>
        </p:nvSpPr>
        <p:spPr>
          <a:xfrm>
            <a:off x="239171" y="1472826"/>
            <a:ext cx="1617007" cy="830997"/>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smtClean="0">
              <a:solidFill>
                <a:schemeClr val="bg1"/>
              </a:solidFill>
            </a:endParaRPr>
          </a:p>
          <a:p>
            <a:endParaRPr lang="da-DK" sz="1600" dirty="0">
              <a:solidFill>
                <a:schemeClr val="bg1"/>
              </a:solidFill>
            </a:endParaRPr>
          </a:p>
        </p:txBody>
      </p:sp>
      <p:sp>
        <p:nvSpPr>
          <p:cNvPr id="14" name="Rektangel 13"/>
          <p:cNvSpPr/>
          <p:nvPr/>
        </p:nvSpPr>
        <p:spPr>
          <a:xfrm>
            <a:off x="239171" y="4633581"/>
            <a:ext cx="1774813" cy="584775"/>
          </a:xfrm>
          <a:prstGeom prst="rect">
            <a:avLst/>
          </a:prstGeom>
        </p:spPr>
        <p:txBody>
          <a:bodyPr wrap="square">
            <a:spAutoFit/>
          </a:bodyPr>
          <a:lstStyle/>
          <a:p>
            <a:r>
              <a:rPr lang="da-DK" sz="1600" dirty="0" smtClean="0">
                <a:solidFill>
                  <a:schemeClr val="bg1"/>
                </a:solidFill>
              </a:rPr>
              <a:t>National Digital Center</a:t>
            </a:r>
            <a:endParaRPr lang="da-DK" sz="1600" dirty="0">
              <a:solidFill>
                <a:schemeClr val="bg1"/>
              </a:solidFill>
            </a:endParaRPr>
          </a:p>
        </p:txBody>
      </p:sp>
      <p:sp>
        <p:nvSpPr>
          <p:cNvPr id="15" name="Rektangel 14"/>
          <p:cNvSpPr/>
          <p:nvPr/>
        </p:nvSpPr>
        <p:spPr>
          <a:xfrm>
            <a:off x="239171" y="5413541"/>
            <a:ext cx="1779654" cy="584775"/>
          </a:xfrm>
          <a:prstGeom prst="rect">
            <a:avLst/>
          </a:prstGeom>
        </p:spPr>
        <p:txBody>
          <a:bodyPr wrap="none">
            <a:spAutoFit/>
          </a:bodyPr>
          <a:lstStyle/>
          <a:p>
            <a:r>
              <a:rPr lang="da-DK" sz="1600" dirty="0" err="1" smtClean="0">
                <a:solidFill>
                  <a:schemeClr val="bg1"/>
                </a:solidFill>
              </a:rPr>
              <a:t>Circular</a:t>
            </a:r>
            <a:r>
              <a:rPr lang="da-DK" sz="1600" dirty="0" smtClean="0">
                <a:solidFill>
                  <a:schemeClr val="bg1"/>
                </a:solidFill>
              </a:rPr>
              <a:t> </a:t>
            </a:r>
            <a:r>
              <a:rPr lang="da-DK" sz="1600" dirty="0" err="1" smtClean="0">
                <a:solidFill>
                  <a:schemeClr val="bg1"/>
                </a:solidFill>
              </a:rPr>
              <a:t>economy</a:t>
            </a:r>
            <a:endParaRPr lang="da-DK" sz="1600" dirty="0">
              <a:solidFill>
                <a:schemeClr val="bg1"/>
              </a:solidFill>
            </a:endParaRPr>
          </a:p>
          <a:p>
            <a:r>
              <a:rPr lang="da-DK" sz="1600" dirty="0" smtClean="0">
                <a:solidFill>
                  <a:schemeClr val="bg1"/>
                </a:solidFill>
              </a:rPr>
              <a:t>and plastic</a:t>
            </a:r>
            <a:endParaRPr lang="da-DK" sz="1600" dirty="0">
              <a:solidFill>
                <a:schemeClr val="bg1"/>
              </a:solidFill>
            </a:endParaRPr>
          </a:p>
        </p:txBody>
      </p:sp>
      <p:sp>
        <p:nvSpPr>
          <p:cNvPr id="28" name="Rektangel 27"/>
          <p:cNvSpPr/>
          <p:nvPr/>
        </p:nvSpPr>
        <p:spPr>
          <a:xfrm>
            <a:off x="239171" y="4094234"/>
            <a:ext cx="1091966" cy="338554"/>
          </a:xfrm>
          <a:prstGeom prst="rect">
            <a:avLst/>
          </a:prstGeom>
        </p:spPr>
        <p:txBody>
          <a:bodyPr wrap="none">
            <a:spAutoFit/>
          </a:bodyPr>
          <a:lstStyle/>
          <a:p>
            <a:r>
              <a:rPr lang="da-DK" sz="1600" dirty="0">
                <a:solidFill>
                  <a:schemeClr val="bg1"/>
                </a:solidFill>
              </a:rPr>
              <a:t>Open Call</a:t>
            </a:r>
          </a:p>
        </p:txBody>
      </p:sp>
      <p:sp>
        <p:nvSpPr>
          <p:cNvPr id="29" name="Rektangel 28"/>
          <p:cNvSpPr/>
          <p:nvPr/>
        </p:nvSpPr>
        <p:spPr>
          <a:xfrm>
            <a:off x="239171" y="6037746"/>
            <a:ext cx="1809826" cy="506479"/>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ew technologies </a:t>
            </a:r>
            <a:r>
              <a:rPr lang="en-US" sz="1600" dirty="0" smtClean="0">
                <a:solidFill>
                  <a:schemeClr val="bg1"/>
                </a:solidFill>
              </a:rPr>
              <a:t>for </a:t>
            </a:r>
            <a:r>
              <a:rPr lang="en-US" sz="1600" dirty="0">
                <a:solidFill>
                  <a:schemeClr val="bg1"/>
                </a:solidFill>
              </a:rPr>
              <a:t>education</a:t>
            </a:r>
          </a:p>
        </p:txBody>
      </p:sp>
    </p:spTree>
    <p:extLst>
      <p:ext uri="{BB962C8B-B14F-4D97-AF65-F5344CB8AC3E}">
        <p14:creationId xmlns:p14="http://schemas.microsoft.com/office/powerpoint/2010/main" val="764863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year</a:t>
            </a:r>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year</a:t>
            </a:r>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year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I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evel</a:t>
            </a:r>
            <a:r>
              <a:rPr lang="da-DK" sz="2000" dirty="0" smtClean="0">
                <a:solidFill>
                  <a:srgbClr val="000000"/>
                </a:solidFill>
              </a:rPr>
              <a:t> 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will you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knowledge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be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6</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7</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will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6" name="Shape 666"/>
          <p:cNvSpPr>
            <a:spLocks noGrp="1"/>
          </p:cNvSpPr>
          <p:nvPr>
            <p:ph type="body" idx="1"/>
          </p:nvPr>
        </p:nvSpPr>
        <p:spPr>
          <a:xfrm>
            <a:off x="2097004" y="2088661"/>
            <a:ext cx="7770627" cy="6225434"/>
          </a:xfrm>
          <a:prstGeom prst="rect">
            <a:avLst/>
          </a:prstGeom>
        </p:spPr>
        <p:txBody>
          <a:bodyPr/>
          <a:lstStyle/>
          <a:p>
            <a:pPr marL="40194" marR="81299" indent="0" algn="ctr">
              <a:lnSpc>
                <a:spcPct val="110000"/>
              </a:lnSpc>
              <a:buSzTx/>
              <a:buNone/>
              <a:defRPr sz="15500" b="1">
                <a:solidFill>
                  <a:srgbClr val="BE1900"/>
                </a:solidFill>
                <a:uFill>
                  <a:solidFill>
                    <a:srgbClr val="BE1900"/>
                  </a:solidFill>
                </a:uFill>
              </a:defRPr>
            </a:pPr>
            <a:r>
              <a:rPr sz="10800" dirty="0" smtClean="0"/>
              <a:t>DIVERSITY</a:t>
            </a:r>
            <a:endParaRPr dirty="0"/>
          </a:p>
          <a:p>
            <a:pPr marL="40194" marR="81299" indent="0" algn="ctr">
              <a:lnSpc>
                <a:spcPct val="70000"/>
              </a:lnSpc>
              <a:buClrTx/>
              <a:buSzTx/>
              <a:buNone/>
              <a:defRPr sz="2400" b="1"/>
            </a:pPr>
            <a:endParaRPr dirty="0"/>
          </a:p>
          <a:p>
            <a:pPr marL="40194" marR="81299" indent="0" algn="ctr">
              <a:lnSpc>
                <a:spcPct val="70000"/>
              </a:lnSpc>
              <a:buClrTx/>
              <a:buSzTx/>
              <a:buNone/>
              <a:defRPr sz="2400" b="1"/>
            </a:pPr>
            <a:endParaRPr dirty="0"/>
          </a:p>
          <a:p>
            <a:pPr marL="40194" marR="81299" indent="0" algn="ctr">
              <a:lnSpc>
                <a:spcPct val="70000"/>
              </a:lnSpc>
              <a:buClrTx/>
              <a:buSzTx/>
              <a:buNone/>
              <a:defRPr sz="2400" b="1"/>
            </a:pPr>
            <a:endParaRPr dirty="0"/>
          </a:p>
          <a:p>
            <a:pPr marL="40194" marR="81299" indent="0" algn="ctr">
              <a:lnSpc>
                <a:spcPct val="80000"/>
              </a:lnSpc>
              <a:buClrTx/>
              <a:buSzTx/>
              <a:buNone/>
              <a:defRPr sz="2400"/>
            </a:pPr>
            <a:r>
              <a:rPr dirty="0"/>
              <a:t/>
            </a:r>
            <a:br>
              <a:rPr dirty="0"/>
            </a:br>
            <a:r>
              <a:rPr dirty="0"/>
              <a:t>by. PhD, Susanne Justesen</a:t>
            </a:r>
          </a:p>
          <a:p>
            <a:pPr marL="40194" marR="81299" indent="0" algn="ctr">
              <a:lnSpc>
                <a:spcPct val="80000"/>
              </a:lnSpc>
              <a:buClrTx/>
              <a:buSzTx/>
              <a:buNone/>
              <a:defRPr sz="2100" b="1">
                <a:solidFill>
                  <a:srgbClr val="BE1900"/>
                </a:solidFill>
                <a:uFill>
                  <a:solidFill>
                    <a:srgbClr val="BE1900"/>
                  </a:solidFill>
                </a:uFill>
              </a:defRPr>
            </a:pPr>
            <a:r>
              <a:rPr dirty="0"/>
              <a:t>INNOVERSITY CPH</a:t>
            </a:r>
          </a:p>
        </p:txBody>
      </p:sp>
      <p:pic>
        <p:nvPicPr>
          <p:cNvPr id="667" name="image.png"/>
          <p:cNvPicPr>
            <a:picLocks/>
          </p:cNvPicPr>
          <p:nvPr/>
        </p:nvPicPr>
        <p:blipFill>
          <a:blip r:embed="rId2">
            <a:extLst/>
          </a:blip>
          <a:stretch>
            <a:fillRect/>
          </a:stretch>
        </p:blipFill>
        <p:spPr>
          <a:xfrm>
            <a:off x="8578234" y="4608785"/>
            <a:ext cx="2036440" cy="2304393"/>
          </a:xfrm>
          <a:prstGeom prst="rect">
            <a:avLst/>
          </a:prstGeom>
          <a:ln w="12700">
            <a:miter lim="400000"/>
          </a:ln>
        </p:spPr>
      </p:pic>
      <p:pic>
        <p:nvPicPr>
          <p:cNvPr id="668" name="innoversity_logo_black.pdf"/>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1009284980"/>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TU </a:t>
            </a:r>
            <a:r>
              <a:rPr lang="da-DK" sz="2400" b="1" noProof="0" dirty="0" smtClean="0">
                <a:solidFill>
                  <a:schemeClr val="bg1"/>
                </a:solidFill>
              </a:rPr>
              <a:t>Science</a:t>
            </a: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 name="Shape 670"/>
          <p:cNvSpPr/>
          <p:nvPr/>
        </p:nvSpPr>
        <p:spPr>
          <a:xfrm>
            <a:off x="8879055" y="6252229"/>
            <a:ext cx="309397"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671"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672" name="Shape 672"/>
          <p:cNvSpPr/>
          <p:nvPr/>
        </p:nvSpPr>
        <p:spPr>
          <a:xfrm>
            <a:off x="2745798" y="455520"/>
            <a:ext cx="7708104" cy="42210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marR="57798" algn="r" defTabSz="914400">
              <a:buClr>
                <a:srgbClr val="BE1900"/>
              </a:buClr>
              <a:buFont typeface="Century Gothic"/>
              <a:defRPr sz="3900" b="1">
                <a:solidFill>
                  <a:srgbClr val="BE1900"/>
                </a:solidFill>
                <a:uFill>
                  <a:solidFill>
                    <a:srgbClr val="BE1900"/>
                  </a:solidFill>
                </a:uFill>
                <a:latin typeface="Arial"/>
                <a:ea typeface="Arial"/>
                <a:cs typeface="Arial"/>
                <a:sym typeface="Arial"/>
              </a:defRPr>
            </a:lvl1pPr>
          </a:lstStyle>
          <a:p>
            <a:pPr marL="40194" marR="40649" defTabSz="643098" hangingPunct="0"/>
            <a:r>
              <a:rPr sz="2743" kern="0"/>
              <a:t>THREE IMPORTANT TAKE-AWAYS</a:t>
            </a:r>
          </a:p>
        </p:txBody>
      </p:sp>
      <p:pic>
        <p:nvPicPr>
          <p:cNvPr id="67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674" name="Shape 674"/>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675" name="Shape 675"/>
          <p:cNvSpPr>
            <a:spLocks noGrp="1"/>
          </p:cNvSpPr>
          <p:nvPr>
            <p:ph type="body" idx="1"/>
          </p:nvPr>
        </p:nvSpPr>
        <p:spPr>
          <a:xfrm>
            <a:off x="2061108" y="1676441"/>
            <a:ext cx="8068196" cy="4557428"/>
          </a:xfrm>
          <a:prstGeom prst="rect">
            <a:avLst/>
          </a:prstGeom>
        </p:spPr>
        <p:txBody>
          <a:bodyPr>
            <a:normAutofit fontScale="70000" lnSpcReduction="2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Diversity strengthens problem solving and financial performance in groups (=&gt; better projects)</a:t>
            </a:r>
            <a:br/>
            <a:endParaRPr/>
          </a:p>
          <a:p>
            <a:pPr marL="308151" marR="81299" lvl="1" indent="-267957">
              <a:lnSpc>
                <a:spcPct val="110000"/>
              </a:lnSpc>
              <a:buClr>
                <a:srgbClr val="929292"/>
              </a:buClr>
              <a:buSzPct val="125000"/>
              <a:buFont typeface="Helvetica"/>
              <a:buChar char="•"/>
              <a:defRPr sz="3500">
                <a:uFill>
                  <a:solidFill>
                    <a:srgbClr val="929292"/>
                  </a:solidFill>
                </a:uFill>
              </a:defRPr>
            </a:pPr>
            <a:r>
              <a:t>Homogeneity in groups poses a serious threat to research quality and research impact</a:t>
            </a:r>
            <a:br/>
            <a:endParaRPr/>
          </a:p>
          <a:p>
            <a:pPr marL="308151" marR="81299" lvl="1" indent="-267957">
              <a:lnSpc>
                <a:spcPct val="110000"/>
              </a:lnSpc>
              <a:buClr>
                <a:srgbClr val="929292"/>
              </a:buClr>
              <a:buSzPct val="125000"/>
              <a:buFont typeface="Helvetica"/>
              <a:buChar char="•"/>
              <a:defRPr sz="3500">
                <a:uFill>
                  <a:solidFill>
                    <a:srgbClr val="929292"/>
                  </a:solidFill>
                </a:uFill>
              </a:defRPr>
            </a:pPr>
            <a:r>
              <a:t>Avoid more than 70% homogeneity in groups</a:t>
            </a:r>
          </a:p>
        </p:txBody>
      </p:sp>
    </p:spTree>
    <p:extLst>
      <p:ext uri="{BB962C8B-B14F-4D97-AF65-F5344CB8AC3E}">
        <p14:creationId xmlns:p14="http://schemas.microsoft.com/office/powerpoint/2010/main" val="1753057076"/>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75">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675">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675">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67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 grpId="0" build="p" bldLvl="5"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7" name="Shape 677"/>
          <p:cNvSpPr/>
          <p:nvPr/>
        </p:nvSpPr>
        <p:spPr>
          <a:xfrm>
            <a:off x="8923381" y="6270092"/>
            <a:ext cx="219629"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2</a:t>
            </a:r>
          </a:p>
        </p:txBody>
      </p:sp>
      <p:pic>
        <p:nvPicPr>
          <p:cNvPr id="678"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679" name="Shape 679"/>
          <p:cNvSpPr>
            <a:spLocks noGrp="1"/>
          </p:cNvSpPr>
          <p:nvPr>
            <p:ph type="body" idx="1"/>
          </p:nvPr>
        </p:nvSpPr>
        <p:spPr>
          <a:xfrm>
            <a:off x="2032374" y="1905813"/>
            <a:ext cx="8523127" cy="4526167"/>
          </a:xfrm>
          <a:prstGeom prst="rect">
            <a:avLst/>
          </a:prstGeom>
        </p:spPr>
        <p:txBody>
          <a:bodyPr>
            <a:normAutofit/>
          </a:bodyPr>
          <a:lstStyle/>
          <a:p>
            <a:pPr marL="614069" indent="-609603">
              <a:lnSpc>
                <a:spcPct val="170000"/>
              </a:lnSpc>
              <a:buSzTx/>
              <a:buNone/>
              <a:defRPr sz="2600"/>
            </a:pPr>
            <a:endParaRPr dirty="0"/>
          </a:p>
          <a:p>
            <a:pPr marL="614069" indent="-609603">
              <a:lnSpc>
                <a:spcPct val="190000"/>
              </a:lnSpc>
              <a:buSzTx/>
              <a:buNone/>
              <a:defRPr sz="2600"/>
            </a:pPr>
            <a:r>
              <a:rPr sz="1800" dirty="0"/>
              <a:t>2012 -             External lecturer in Innovation Management, CBS</a:t>
            </a:r>
          </a:p>
          <a:p>
            <a:pPr marL="614069" indent="-609603">
              <a:lnSpc>
                <a:spcPct val="190000"/>
              </a:lnSpc>
              <a:buSzTx/>
              <a:buNone/>
              <a:defRPr sz="2600"/>
            </a:pPr>
            <a:r>
              <a:rPr sz="1800" dirty="0"/>
              <a:t>2004 - 07        Ph.D. Studies at CBS + Visiting Scholar Stanford University</a:t>
            </a:r>
          </a:p>
          <a:p>
            <a:pPr marL="614069" indent="-609603">
              <a:lnSpc>
                <a:spcPct val="190000"/>
              </a:lnSpc>
              <a:spcBef>
                <a:spcPts val="0"/>
              </a:spcBef>
              <a:buSzTx/>
              <a:buNone/>
              <a:defRPr sz="2600"/>
            </a:pPr>
            <a:r>
              <a:rPr sz="1800" dirty="0"/>
              <a:t>2002 - 03        </a:t>
            </a:r>
            <a:r>
              <a:rPr sz="1800" dirty="0" err="1"/>
              <a:t>Innoversity</a:t>
            </a:r>
            <a:r>
              <a:rPr sz="1800" dirty="0"/>
              <a:t> NEW YORK </a:t>
            </a:r>
          </a:p>
          <a:p>
            <a:pPr marL="614069" indent="-609603">
              <a:lnSpc>
                <a:spcPct val="190000"/>
              </a:lnSpc>
              <a:spcBef>
                <a:spcPts val="0"/>
              </a:spcBef>
              <a:buSzTx/>
              <a:buNone/>
              <a:defRPr sz="2600"/>
            </a:pPr>
            <a:r>
              <a:rPr sz="1800" dirty="0"/>
              <a:t>2001  -            </a:t>
            </a:r>
            <a:r>
              <a:rPr sz="1800" dirty="0" err="1"/>
              <a:t>Innoversity</a:t>
            </a:r>
            <a:r>
              <a:rPr sz="1800" dirty="0"/>
              <a:t> CPH</a:t>
            </a:r>
          </a:p>
          <a:p>
            <a:pPr marL="614069" indent="-609603">
              <a:lnSpc>
                <a:spcPct val="190000"/>
              </a:lnSpc>
              <a:spcBef>
                <a:spcPts val="0"/>
              </a:spcBef>
              <a:buSzTx/>
              <a:buNone/>
              <a:defRPr sz="2600"/>
            </a:pPr>
            <a:r>
              <a:rPr sz="1800" dirty="0"/>
              <a:t>2000	              MSc (Economy and Business) in Intercultural Management (CBS)</a:t>
            </a:r>
          </a:p>
        </p:txBody>
      </p:sp>
      <p:sp>
        <p:nvSpPr>
          <p:cNvPr id="680" name="Shape 680"/>
          <p:cNvSpPr/>
          <p:nvPr/>
        </p:nvSpPr>
        <p:spPr>
          <a:xfrm>
            <a:off x="2745798" y="455520"/>
            <a:ext cx="7717036" cy="43287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algn="r" defTabSz="914400">
              <a:buClr>
                <a:srgbClr val="BE1900"/>
              </a:buClr>
              <a:buFont typeface="Century Gothic"/>
              <a:defRPr sz="4000" b="1">
                <a:solidFill>
                  <a:srgbClr val="BE1900"/>
                </a:solidFill>
                <a:uFill>
                  <a:solidFill>
                    <a:srgbClr val="BE1900"/>
                  </a:solidFill>
                </a:uFill>
                <a:latin typeface="Arial"/>
                <a:ea typeface="Arial"/>
                <a:cs typeface="Arial"/>
                <a:sym typeface="Arial"/>
              </a:defRPr>
            </a:lvl1pPr>
          </a:lstStyle>
          <a:p>
            <a:pPr marL="40194" defTabSz="643098" hangingPunct="0"/>
            <a:r>
              <a:rPr sz="2813" kern="0"/>
              <a:t>SUSANNE JUSTESEN</a:t>
            </a:r>
          </a:p>
        </p:txBody>
      </p:sp>
      <p:pic>
        <p:nvPicPr>
          <p:cNvPr id="681"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1815133983"/>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3" name="Shape 683"/>
          <p:cNvSpPr/>
          <p:nvPr/>
        </p:nvSpPr>
        <p:spPr>
          <a:xfrm>
            <a:off x="8879055" y="6252229"/>
            <a:ext cx="309397"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684"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685" name="Shape 685"/>
          <p:cNvSpPr/>
          <p:nvPr/>
        </p:nvSpPr>
        <p:spPr>
          <a:xfrm>
            <a:off x="2745798" y="455520"/>
            <a:ext cx="7708104" cy="86594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40194" marR="40649" algn="r" defTabSz="643098" hangingPunct="0">
              <a:buClr>
                <a:srgbClr val="BE1900"/>
              </a:buClr>
              <a:defRPr sz="5000" b="1">
                <a:solidFill>
                  <a:srgbClr val="BE1900"/>
                </a:solidFill>
                <a:uFill>
                  <a:solidFill>
                    <a:srgbClr val="BE1900"/>
                  </a:solidFill>
                </a:uFill>
                <a:latin typeface="Arial"/>
                <a:ea typeface="Arial"/>
                <a:cs typeface="Arial"/>
                <a:sym typeface="Arial"/>
              </a:defRPr>
            </a:pPr>
            <a:r>
              <a:rPr sz="3517" b="1" kern="0">
                <a:solidFill>
                  <a:srgbClr val="BE1900"/>
                </a:solidFill>
                <a:uFill>
                  <a:solidFill>
                    <a:srgbClr val="BE1900"/>
                  </a:solidFill>
                </a:uFill>
                <a:latin typeface="Arial"/>
                <a:cs typeface="Arial"/>
                <a:sym typeface="Arial"/>
              </a:rPr>
              <a:t>DIVERSITY - WHY?</a:t>
            </a:r>
          </a:p>
          <a:p>
            <a:pPr marL="40194" marR="40649" algn="r" defTabSz="643098" hangingPunct="0">
              <a:buClr>
                <a:srgbClr val="BE1900"/>
              </a:buClr>
              <a:defRPr sz="3000" b="1">
                <a:uFill>
                  <a:solidFill>
                    <a:srgbClr val="BE1900"/>
                  </a:solidFill>
                </a:uFill>
                <a:latin typeface="Arial"/>
                <a:ea typeface="Arial"/>
                <a:cs typeface="Arial"/>
                <a:sym typeface="Arial"/>
              </a:defRPr>
            </a:pPr>
            <a:r>
              <a:rPr sz="2110" b="1" kern="0">
                <a:solidFill>
                  <a:srgbClr val="000000"/>
                </a:solidFill>
                <a:uFill>
                  <a:solidFill>
                    <a:srgbClr val="BE1900"/>
                  </a:solidFill>
                </a:uFill>
                <a:latin typeface="Arial"/>
                <a:cs typeface="Arial"/>
                <a:sym typeface="Arial"/>
              </a:rPr>
              <a:t>Relevant to scientific research and innovation</a:t>
            </a:r>
          </a:p>
        </p:txBody>
      </p:sp>
      <p:pic>
        <p:nvPicPr>
          <p:cNvPr id="686" name="innoversity_logo_black.ai"/>
          <p:cNvPicPr>
            <a:picLocks noChangeAspect="1"/>
          </p:cNvPicPr>
          <p:nvPr/>
        </p:nvPicPr>
        <p:blipFill>
          <a:blip r:embed="rId4">
            <a:extLst/>
          </a:blip>
          <a:stretch>
            <a:fillRect/>
          </a:stretch>
        </p:blipFill>
        <p:spPr>
          <a:xfrm>
            <a:off x="1696065" y="196590"/>
            <a:ext cx="1799576" cy="292922"/>
          </a:xfrm>
          <a:prstGeom prst="rect">
            <a:avLst/>
          </a:prstGeom>
          <a:ln w="12700"/>
        </p:spPr>
      </p:pic>
      <p:sp>
        <p:nvSpPr>
          <p:cNvPr id="687" name="Shape 687"/>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688" name="Shape 688"/>
          <p:cNvSpPr>
            <a:spLocks noGrp="1"/>
          </p:cNvSpPr>
          <p:nvPr>
            <p:ph type="body" sz="half" idx="1"/>
          </p:nvPr>
        </p:nvSpPr>
        <p:spPr>
          <a:xfrm>
            <a:off x="1863327" y="1874552"/>
            <a:ext cx="3921122" cy="4557428"/>
          </a:xfrm>
          <a:prstGeom prst="rect">
            <a:avLst/>
          </a:prstGeom>
        </p:spPr>
        <p:txBody>
          <a:bodyPr>
            <a:normAutofit fontScale="85000" lnSpcReduction="1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dirty="0"/>
          </a:p>
          <a:p>
            <a:pPr marL="308151" marR="81299" lvl="1" indent="-267957">
              <a:lnSpc>
                <a:spcPct val="110000"/>
              </a:lnSpc>
              <a:buClr>
                <a:srgbClr val="929292"/>
              </a:buClr>
              <a:buSzPct val="125000"/>
              <a:buFont typeface="Helvetica"/>
              <a:buChar char="•"/>
              <a:defRPr sz="3300">
                <a:uFill>
                  <a:solidFill>
                    <a:srgbClr val="929292"/>
                  </a:solidFill>
                </a:uFill>
              </a:defRPr>
            </a:pPr>
            <a:r>
              <a:rPr dirty="0"/>
              <a:t>Helps us understand problems in different ways</a:t>
            </a:r>
            <a:br>
              <a:rPr dirty="0"/>
            </a:br>
            <a:endParaRPr dirty="0"/>
          </a:p>
          <a:p>
            <a:pPr marL="308151" marR="81299" lvl="1" indent="-267957">
              <a:lnSpc>
                <a:spcPct val="110000"/>
              </a:lnSpc>
              <a:buClr>
                <a:srgbClr val="929292"/>
              </a:buClr>
              <a:buSzPct val="125000"/>
              <a:buFont typeface="Helvetica"/>
              <a:buChar char="•"/>
              <a:defRPr sz="3300">
                <a:uFill>
                  <a:solidFill>
                    <a:srgbClr val="929292"/>
                  </a:solidFill>
                </a:uFill>
              </a:defRPr>
            </a:pPr>
            <a:r>
              <a:rPr dirty="0"/>
              <a:t>And discover completely new and different solutions</a:t>
            </a:r>
          </a:p>
        </p:txBody>
      </p:sp>
      <p:grpSp>
        <p:nvGrpSpPr>
          <p:cNvPr id="698" name="Group 698"/>
          <p:cNvGrpSpPr/>
          <p:nvPr/>
        </p:nvGrpSpPr>
        <p:grpSpPr>
          <a:xfrm>
            <a:off x="6230618" y="2395992"/>
            <a:ext cx="4019064" cy="2791078"/>
            <a:chOff x="-27780" y="0"/>
            <a:chExt cx="5714678" cy="3968613"/>
          </a:xfrm>
        </p:grpSpPr>
        <p:grpSp>
          <p:nvGrpSpPr>
            <p:cNvPr id="691" name="Group 691"/>
            <p:cNvGrpSpPr/>
            <p:nvPr/>
          </p:nvGrpSpPr>
          <p:grpSpPr>
            <a:xfrm>
              <a:off x="157018" y="2841527"/>
              <a:ext cx="2299354" cy="1127086"/>
              <a:chOff x="0" y="0"/>
              <a:chExt cx="2299352" cy="1127084"/>
            </a:xfrm>
          </p:grpSpPr>
          <p:sp>
            <p:nvSpPr>
              <p:cNvPr id="689" name="Shape 689"/>
              <p:cNvSpPr/>
              <p:nvPr/>
            </p:nvSpPr>
            <p:spPr>
              <a:xfrm>
                <a:off x="0" y="0"/>
                <a:ext cx="2299352" cy="1127084"/>
              </a:xfrm>
              <a:prstGeom prst="roundRect">
                <a:avLst>
                  <a:gd name="adj" fmla="val 18822"/>
                </a:avLst>
              </a:prstGeom>
              <a:solidFill>
                <a:srgbClr val="C44130"/>
              </a:solidFill>
              <a:ln w="25400" cap="flat">
                <a:solidFill>
                  <a:srgbClr val="BBE0E3"/>
                </a:solidFill>
                <a:prstDash val="solid"/>
                <a:round/>
              </a:ln>
              <a:effectLst/>
            </p:spPr>
            <p:txBody>
              <a:bodyPr wrap="square" lIns="34297" tIns="34297" rIns="34297" bIns="34297" numCol="1" anchor="t">
                <a:noAutofit/>
              </a:bodyPr>
              <a:lstStyle/>
              <a:p>
                <a:pPr algn="ctr" defTabSz="914628" hangingPunct="0">
                  <a:defRPr sz="2400" b="1">
                    <a:solidFill>
                      <a:srgbClr val="535353"/>
                    </a:solidFill>
                    <a:latin typeface="Arial"/>
                    <a:ea typeface="Arial"/>
                    <a:cs typeface="Arial"/>
                    <a:sym typeface="Arial"/>
                  </a:defRPr>
                </a:pPr>
                <a:endParaRPr sz="1688" b="1" kern="0">
                  <a:solidFill>
                    <a:srgbClr val="535353"/>
                  </a:solidFill>
                  <a:latin typeface="Arial"/>
                  <a:cs typeface="Arial"/>
                  <a:sym typeface="Arial"/>
                </a:endParaRPr>
              </a:p>
            </p:txBody>
          </p:sp>
          <p:sp>
            <p:nvSpPr>
              <p:cNvPr id="690" name="Shape 690"/>
              <p:cNvSpPr/>
              <p:nvPr/>
            </p:nvSpPr>
            <p:spPr>
              <a:xfrm>
                <a:off x="62132" y="251814"/>
                <a:ext cx="2175086" cy="65244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7" tIns="34297" rIns="34297" bIns="34297" numCol="1" anchor="t">
                <a:spAutoFit/>
              </a:bodyPr>
              <a:lstStyle>
                <a:lvl1pPr defTabSz="1300480">
                  <a:defRPr sz="1800" b="1">
                    <a:solidFill>
                      <a:srgbClr val="FFFFFF"/>
                    </a:solidFill>
                    <a:latin typeface="Arial"/>
                    <a:ea typeface="Arial"/>
                    <a:cs typeface="Arial"/>
                    <a:sym typeface="Arial"/>
                  </a:defRPr>
                </a:lvl1pPr>
              </a:lstStyle>
              <a:p>
                <a:pPr algn="ctr" defTabSz="914628" hangingPunct="0"/>
                <a:r>
                  <a:rPr sz="1266" kern="0"/>
                  <a:t>UNDERSTANDING THE PROBLEM</a:t>
                </a:r>
              </a:p>
            </p:txBody>
          </p:sp>
        </p:grpSp>
        <p:sp>
          <p:nvSpPr>
            <p:cNvPr id="692" name="Shape 692"/>
            <p:cNvSpPr/>
            <p:nvPr/>
          </p:nvSpPr>
          <p:spPr>
            <a:xfrm>
              <a:off x="-27780" y="0"/>
              <a:ext cx="5714678" cy="132948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97" tIns="34297" rIns="34297" bIns="34297" numCol="1" anchor="t">
              <a:spAutoFit/>
            </a:bodyPr>
            <a:lstStyle/>
            <a:p>
              <a:pPr algn="ctr" defTabSz="914628" hangingPunct="0">
                <a:defRPr sz="4000" b="1">
                  <a:solidFill>
                    <a:srgbClr val="505050"/>
                  </a:solidFill>
                  <a:latin typeface="Arial"/>
                  <a:ea typeface="Arial"/>
                  <a:cs typeface="Arial"/>
                  <a:sym typeface="Arial"/>
                </a:defRPr>
              </a:pPr>
              <a:r>
                <a:rPr sz="2813" b="1" kern="0">
                  <a:solidFill>
                    <a:srgbClr val="505050"/>
                  </a:solidFill>
                  <a:latin typeface="Arial"/>
                  <a:cs typeface="Arial"/>
                  <a:sym typeface="Arial"/>
                </a:rPr>
                <a:t>THE TWO PHASES OF </a:t>
              </a:r>
            </a:p>
            <a:p>
              <a:pPr algn="ctr" defTabSz="914628" hangingPunct="0">
                <a:defRPr sz="4000" b="1">
                  <a:solidFill>
                    <a:srgbClr val="505050"/>
                  </a:solidFill>
                  <a:latin typeface="Arial"/>
                  <a:ea typeface="Arial"/>
                  <a:cs typeface="Arial"/>
                  <a:sym typeface="Arial"/>
                </a:defRPr>
              </a:pPr>
              <a:r>
                <a:rPr sz="2813" b="1" kern="0">
                  <a:solidFill>
                    <a:srgbClr val="505050"/>
                  </a:solidFill>
                  <a:latin typeface="Arial"/>
                  <a:cs typeface="Arial"/>
                  <a:sym typeface="Arial"/>
                </a:rPr>
                <a:t>PROBLEM SOLVING</a:t>
              </a:r>
            </a:p>
          </p:txBody>
        </p:sp>
        <p:sp>
          <p:nvSpPr>
            <p:cNvPr id="693" name="Shape 693"/>
            <p:cNvSpPr/>
            <p:nvPr/>
          </p:nvSpPr>
          <p:spPr>
            <a:xfrm rot="7889322">
              <a:off x="1130844" y="1757321"/>
              <a:ext cx="1160444" cy="813171"/>
            </a:xfrm>
            <a:prstGeom prst="rightArrow">
              <a:avLst>
                <a:gd name="adj1" fmla="val 15798"/>
                <a:gd name="adj2" fmla="val 52530"/>
              </a:avLst>
            </a:prstGeom>
            <a:solidFill>
              <a:srgbClr val="BF3624"/>
            </a:solidFill>
            <a:ln w="12700" cap="flat">
              <a:noFill/>
              <a:miter lim="400000"/>
            </a:ln>
            <a:effectLst/>
          </p:spPr>
          <p:txBody>
            <a:bodyPr wrap="square" lIns="34297" tIns="34297" rIns="34297" bIns="34297" numCol="1" anchor="t">
              <a:noAutofit/>
            </a:bodyPr>
            <a:lstStyle/>
            <a:p>
              <a:pPr defTabSz="914628" hangingPunct="0">
                <a:defRPr sz="2400">
                  <a:latin typeface="Arial"/>
                  <a:ea typeface="Arial"/>
                  <a:cs typeface="Arial"/>
                  <a:sym typeface="Arial"/>
                </a:defRPr>
              </a:pPr>
              <a:endParaRPr sz="1688" kern="0">
                <a:solidFill>
                  <a:srgbClr val="000000"/>
                </a:solidFill>
                <a:latin typeface="Arial"/>
                <a:cs typeface="Arial"/>
                <a:sym typeface="Arial"/>
              </a:endParaRPr>
            </a:p>
          </p:txBody>
        </p:sp>
        <p:sp>
          <p:nvSpPr>
            <p:cNvPr id="694" name="Shape 694"/>
            <p:cNvSpPr/>
            <p:nvPr/>
          </p:nvSpPr>
          <p:spPr>
            <a:xfrm rot="3182197">
              <a:off x="3122499" y="1782365"/>
              <a:ext cx="1160444" cy="813171"/>
            </a:xfrm>
            <a:prstGeom prst="rightArrow">
              <a:avLst>
                <a:gd name="adj1" fmla="val 15798"/>
                <a:gd name="adj2" fmla="val 52530"/>
              </a:avLst>
            </a:prstGeom>
            <a:solidFill>
              <a:srgbClr val="BF3624"/>
            </a:solidFill>
            <a:ln w="12700" cap="flat">
              <a:noFill/>
              <a:miter lim="400000"/>
            </a:ln>
            <a:effectLst/>
          </p:spPr>
          <p:txBody>
            <a:bodyPr wrap="square" lIns="34297" tIns="34297" rIns="34297" bIns="34297" numCol="1" anchor="t">
              <a:noAutofit/>
            </a:bodyPr>
            <a:lstStyle/>
            <a:p>
              <a:pPr defTabSz="914628" hangingPunct="0">
                <a:defRPr sz="2400">
                  <a:latin typeface="Arial"/>
                  <a:ea typeface="Arial"/>
                  <a:cs typeface="Arial"/>
                  <a:sym typeface="Arial"/>
                </a:defRPr>
              </a:pPr>
              <a:endParaRPr sz="1688" kern="0">
                <a:solidFill>
                  <a:srgbClr val="000000"/>
                </a:solidFill>
                <a:latin typeface="Arial"/>
                <a:cs typeface="Arial"/>
                <a:sym typeface="Arial"/>
              </a:endParaRPr>
            </a:p>
          </p:txBody>
        </p:sp>
        <p:grpSp>
          <p:nvGrpSpPr>
            <p:cNvPr id="697" name="Group 697"/>
            <p:cNvGrpSpPr/>
            <p:nvPr/>
          </p:nvGrpSpPr>
          <p:grpSpPr>
            <a:xfrm>
              <a:off x="3080505" y="2841527"/>
              <a:ext cx="2299354" cy="1127086"/>
              <a:chOff x="0" y="0"/>
              <a:chExt cx="2299352" cy="1127084"/>
            </a:xfrm>
          </p:grpSpPr>
          <p:sp>
            <p:nvSpPr>
              <p:cNvPr id="695" name="Shape 695"/>
              <p:cNvSpPr/>
              <p:nvPr/>
            </p:nvSpPr>
            <p:spPr>
              <a:xfrm>
                <a:off x="0" y="0"/>
                <a:ext cx="2299352" cy="1127084"/>
              </a:xfrm>
              <a:prstGeom prst="roundRect">
                <a:avLst>
                  <a:gd name="adj" fmla="val 18822"/>
                </a:avLst>
              </a:prstGeom>
              <a:solidFill>
                <a:srgbClr val="BF3624"/>
              </a:solidFill>
              <a:ln w="25400" cap="flat">
                <a:solidFill>
                  <a:srgbClr val="BBE0E3"/>
                </a:solidFill>
                <a:prstDash val="solid"/>
                <a:round/>
              </a:ln>
              <a:effectLst/>
            </p:spPr>
            <p:txBody>
              <a:bodyPr wrap="square" lIns="34297" tIns="34297" rIns="34297" bIns="34297" numCol="1" anchor="t">
                <a:noAutofit/>
              </a:bodyPr>
              <a:lstStyle/>
              <a:p>
                <a:pPr algn="ctr" defTabSz="914628" hangingPunct="0">
                  <a:defRPr sz="2400" b="1">
                    <a:solidFill>
                      <a:srgbClr val="535353"/>
                    </a:solidFill>
                    <a:latin typeface="Arial"/>
                    <a:ea typeface="Arial"/>
                    <a:cs typeface="Arial"/>
                    <a:sym typeface="Arial"/>
                  </a:defRPr>
                </a:pPr>
                <a:endParaRPr sz="1688" b="1" kern="0">
                  <a:solidFill>
                    <a:srgbClr val="535353"/>
                  </a:solidFill>
                  <a:latin typeface="Arial"/>
                  <a:cs typeface="Arial"/>
                  <a:sym typeface="Arial"/>
                </a:endParaRPr>
              </a:p>
            </p:txBody>
          </p:sp>
          <p:sp>
            <p:nvSpPr>
              <p:cNvPr id="696" name="Shape 696"/>
              <p:cNvSpPr/>
              <p:nvPr/>
            </p:nvSpPr>
            <p:spPr>
              <a:xfrm>
                <a:off x="62132" y="251814"/>
                <a:ext cx="2175086" cy="65244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7" tIns="34297" rIns="34297" bIns="34297" numCol="1" anchor="t">
                <a:spAutoFit/>
              </a:bodyPr>
              <a:lstStyle/>
              <a:p>
                <a:pPr algn="ctr" defTabSz="914628" hangingPunct="0">
                  <a:defRPr sz="1800" b="1">
                    <a:solidFill>
                      <a:srgbClr val="FFFFFF"/>
                    </a:solidFill>
                    <a:latin typeface="Arial"/>
                    <a:ea typeface="Arial"/>
                    <a:cs typeface="Arial"/>
                    <a:sym typeface="Arial"/>
                  </a:defRPr>
                </a:pPr>
                <a:r>
                  <a:rPr sz="1266" b="1" kern="0">
                    <a:solidFill>
                      <a:srgbClr val="FFFFFF"/>
                    </a:solidFill>
                    <a:latin typeface="Arial"/>
                    <a:cs typeface="Arial"/>
                    <a:sym typeface="Arial"/>
                  </a:rPr>
                  <a:t>PREFERRED</a:t>
                </a:r>
              </a:p>
              <a:p>
                <a:pPr algn="ctr" defTabSz="914628" hangingPunct="0">
                  <a:defRPr sz="1800" b="1">
                    <a:solidFill>
                      <a:srgbClr val="FFFFFF"/>
                    </a:solidFill>
                    <a:latin typeface="Arial"/>
                    <a:ea typeface="Arial"/>
                    <a:cs typeface="Arial"/>
                    <a:sym typeface="Arial"/>
                  </a:defRPr>
                </a:pPr>
                <a:r>
                  <a:rPr sz="1266" b="1" kern="0">
                    <a:solidFill>
                      <a:srgbClr val="FFFFFF"/>
                    </a:solidFill>
                    <a:latin typeface="Arial"/>
                    <a:cs typeface="Arial"/>
                    <a:sym typeface="Arial"/>
                  </a:rPr>
                  <a:t>SOLUTION</a:t>
                </a:r>
              </a:p>
            </p:txBody>
          </p:sp>
        </p:grpSp>
      </p:grpSp>
    </p:spTree>
    <p:extLst>
      <p:ext uri="{BB962C8B-B14F-4D97-AF65-F5344CB8AC3E}">
        <p14:creationId xmlns:p14="http://schemas.microsoft.com/office/powerpoint/2010/main" val="2986569758"/>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88">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688">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688">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6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8" grpId="0" build="p" bldLvl="5" animBg="1" advAuto="0"/>
      <p:bldP spid="698" grpId="0"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2" name="Shape 702"/>
          <p:cNvSpPr/>
          <p:nvPr/>
        </p:nvSpPr>
        <p:spPr>
          <a:xfrm>
            <a:off x="8879055" y="6252229"/>
            <a:ext cx="309397"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703"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704" name="Shape 704"/>
          <p:cNvSpPr/>
          <p:nvPr/>
        </p:nvSpPr>
        <p:spPr>
          <a:xfrm>
            <a:off x="2745798" y="393610"/>
            <a:ext cx="7708104" cy="660374"/>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40194" marR="40649" algn="r" defTabSz="643098" hangingPunct="0">
              <a:buClr>
                <a:srgbClr val="BE1900"/>
              </a:buClr>
              <a:defRPr sz="3500" b="1">
                <a:solidFill>
                  <a:srgbClr val="BE1900"/>
                </a:solidFill>
                <a:uFill>
                  <a:solidFill>
                    <a:srgbClr val="BE1900"/>
                  </a:solidFill>
                </a:uFill>
                <a:latin typeface="Arial"/>
                <a:ea typeface="Arial"/>
                <a:cs typeface="Arial"/>
                <a:sym typeface="Arial"/>
              </a:defRPr>
            </a:pPr>
            <a:r>
              <a:rPr sz="2462" b="1" kern="0">
                <a:solidFill>
                  <a:srgbClr val="BE1900"/>
                </a:solidFill>
                <a:uFill>
                  <a:solidFill>
                    <a:srgbClr val="BE1900"/>
                  </a:solidFill>
                </a:uFill>
                <a:latin typeface="Arial"/>
                <a:cs typeface="Arial"/>
                <a:sym typeface="Arial"/>
              </a:rPr>
              <a:t>DIVERSITY INCREASES SCIENTIFIC IMPACT</a:t>
            </a:r>
          </a:p>
          <a:p>
            <a:pPr marL="40194" marR="40649" algn="r" defTabSz="643098" hangingPunct="0">
              <a:buClr>
                <a:srgbClr val="BE1900"/>
              </a:buClr>
              <a:defRPr sz="2600" b="1">
                <a:uFill>
                  <a:solidFill>
                    <a:srgbClr val="BE1900"/>
                  </a:solidFill>
                </a:uFill>
                <a:latin typeface="Arial"/>
                <a:ea typeface="Arial"/>
                <a:cs typeface="Arial"/>
                <a:sym typeface="Arial"/>
              </a:defRPr>
            </a:pPr>
            <a:r>
              <a:rPr sz="1829" b="1" kern="0">
                <a:solidFill>
                  <a:srgbClr val="000000"/>
                </a:solidFill>
                <a:uFill>
                  <a:solidFill>
                    <a:srgbClr val="BE1900"/>
                  </a:solidFill>
                </a:uFill>
                <a:latin typeface="Arial"/>
                <a:cs typeface="Arial"/>
                <a:sym typeface="Arial"/>
              </a:rPr>
              <a:t>According to new research</a:t>
            </a:r>
          </a:p>
        </p:txBody>
      </p:sp>
      <p:pic>
        <p:nvPicPr>
          <p:cNvPr id="705" name="innoversity_logo_black.ai"/>
          <p:cNvPicPr>
            <a:picLocks noChangeAspect="1"/>
          </p:cNvPicPr>
          <p:nvPr/>
        </p:nvPicPr>
        <p:blipFill>
          <a:blip r:embed="rId4">
            <a:extLst/>
          </a:blip>
          <a:stretch>
            <a:fillRect/>
          </a:stretch>
        </p:blipFill>
        <p:spPr>
          <a:xfrm>
            <a:off x="1696065" y="196590"/>
            <a:ext cx="1799576" cy="292922"/>
          </a:xfrm>
          <a:prstGeom prst="rect">
            <a:avLst/>
          </a:prstGeom>
          <a:ln w="12700"/>
        </p:spPr>
      </p:pic>
      <p:sp>
        <p:nvSpPr>
          <p:cNvPr id="706" name="Shape 706"/>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707" name="Shape 707"/>
          <p:cNvSpPr>
            <a:spLocks noGrp="1"/>
          </p:cNvSpPr>
          <p:nvPr>
            <p:ph type="body" idx="1"/>
          </p:nvPr>
        </p:nvSpPr>
        <p:spPr>
          <a:xfrm>
            <a:off x="1974765" y="2171718"/>
            <a:ext cx="7708105" cy="4557428"/>
          </a:xfrm>
          <a:prstGeom prst="rect">
            <a:avLst/>
          </a:prstGeom>
        </p:spPr>
        <p:txBody>
          <a:bodyPr>
            <a:normAutofit fontScale="85000" lnSpcReduction="10000"/>
          </a:bodyPr>
          <a:lstStyle/>
          <a:p>
            <a:pPr marL="308151" marR="81299" lvl="1" indent="-267957">
              <a:lnSpc>
                <a:spcPct val="110000"/>
              </a:lnSpc>
              <a:buClr>
                <a:srgbClr val="929292"/>
              </a:buClr>
              <a:buSzPct val="125000"/>
              <a:buFont typeface="Helvetica"/>
              <a:buChar char="•"/>
              <a:defRPr sz="3000">
                <a:uFill>
                  <a:solidFill>
                    <a:srgbClr val="929292"/>
                  </a:solidFill>
                </a:uFill>
              </a:defRPr>
            </a:pPr>
            <a:r>
              <a:rPr b="1" dirty="0" smtClean="0"/>
              <a:t>Cultural </a:t>
            </a:r>
            <a:r>
              <a:rPr b="1" dirty="0"/>
              <a:t>diversity</a:t>
            </a:r>
            <a:r>
              <a:rPr dirty="0"/>
              <a:t> amongst co-authors is seen to significantly boost research impact - up to 55% more citations - as documented in analysis of 9.000.000 scientific papers (</a:t>
            </a:r>
            <a:r>
              <a:rPr dirty="0" err="1"/>
              <a:t>AlShebli</a:t>
            </a:r>
            <a:r>
              <a:rPr dirty="0"/>
              <a:t> et al., 2018)</a:t>
            </a:r>
            <a:br>
              <a:rPr dirty="0"/>
            </a:br>
            <a:endParaRPr dirty="0"/>
          </a:p>
          <a:p>
            <a:pPr marL="308151" marR="81299" lvl="1" indent="-267957">
              <a:lnSpc>
                <a:spcPct val="110000"/>
              </a:lnSpc>
              <a:buClr>
                <a:srgbClr val="929292"/>
              </a:buClr>
              <a:buSzPct val="125000"/>
              <a:buFont typeface="Helvetica"/>
              <a:buChar char="•"/>
              <a:defRPr sz="3000">
                <a:uFill>
                  <a:solidFill>
                    <a:srgbClr val="929292"/>
                  </a:solidFill>
                </a:uFill>
              </a:defRPr>
            </a:pPr>
            <a:r>
              <a:rPr b="1" dirty="0"/>
              <a:t>Gender diversity</a:t>
            </a:r>
            <a:r>
              <a:rPr dirty="0"/>
              <a:t> =&gt; Higher research quality, due to DIFFERENT methods applied and DIFFERENT research questions posed (</a:t>
            </a:r>
            <a:r>
              <a:rPr dirty="0" err="1"/>
              <a:t>Wullum</a:t>
            </a:r>
            <a:r>
              <a:rPr dirty="0"/>
              <a:t>-Nielsen et al.,2018)</a:t>
            </a:r>
            <a:r>
              <a:rPr b="1" dirty="0"/>
              <a:t/>
            </a:r>
            <a:br>
              <a:rPr b="1" dirty="0"/>
            </a:br>
            <a:endParaRPr b="1" dirty="0"/>
          </a:p>
        </p:txBody>
      </p:sp>
    </p:spTree>
    <p:extLst>
      <p:ext uri="{BB962C8B-B14F-4D97-AF65-F5344CB8AC3E}">
        <p14:creationId xmlns:p14="http://schemas.microsoft.com/office/powerpoint/2010/main" val="248245762"/>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07">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707">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70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 grpId="0" build="p" bldLvl="5" animBg="1" advAuto="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p:nvPr/>
        </p:nvSpPr>
        <p:spPr>
          <a:xfrm>
            <a:off x="8879055" y="6252229"/>
            <a:ext cx="309397"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712"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713" name="Shape 713"/>
          <p:cNvSpPr/>
          <p:nvPr/>
        </p:nvSpPr>
        <p:spPr>
          <a:xfrm>
            <a:off x="2745798" y="257409"/>
            <a:ext cx="7708104" cy="692690"/>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40194" marR="40649" algn="r" defTabSz="643098" hangingPunct="0">
              <a:buClr>
                <a:srgbClr val="BE1900"/>
              </a:buClr>
              <a:defRPr b="1">
                <a:solidFill>
                  <a:srgbClr val="BE1900"/>
                </a:solidFill>
                <a:uFill>
                  <a:solidFill>
                    <a:srgbClr val="BE1900"/>
                  </a:solidFill>
                </a:uFill>
                <a:latin typeface="Arial"/>
                <a:ea typeface="Arial"/>
                <a:cs typeface="Arial"/>
                <a:sym typeface="Arial"/>
              </a:defRPr>
            </a:pPr>
            <a:r>
              <a:rPr sz="2532" b="1" kern="0">
                <a:solidFill>
                  <a:srgbClr val="BE1900"/>
                </a:solidFill>
                <a:uFill>
                  <a:solidFill>
                    <a:srgbClr val="BE1900"/>
                  </a:solidFill>
                </a:uFill>
                <a:latin typeface="Arial"/>
                <a:cs typeface="Arial"/>
                <a:sym typeface="Arial"/>
              </a:rPr>
              <a:t>DIVERSITY =&gt; FINANCIAL PERFORMANCE</a:t>
            </a:r>
          </a:p>
          <a:p>
            <a:pPr marL="40194" marR="40649" algn="r" defTabSz="643098" hangingPunct="0">
              <a:buClr>
                <a:srgbClr val="BE1900"/>
              </a:buClr>
              <a:defRPr sz="2800" b="1">
                <a:uFill>
                  <a:solidFill>
                    <a:srgbClr val="BE1900"/>
                  </a:solidFill>
                </a:uFill>
                <a:latin typeface="Arial"/>
                <a:ea typeface="Arial"/>
                <a:cs typeface="Arial"/>
                <a:sym typeface="Arial"/>
              </a:defRPr>
            </a:pPr>
            <a:r>
              <a:rPr sz="1969" b="1" kern="0">
                <a:solidFill>
                  <a:srgbClr val="000000"/>
                </a:solidFill>
                <a:uFill>
                  <a:solidFill>
                    <a:srgbClr val="BE1900"/>
                  </a:solidFill>
                </a:uFill>
                <a:latin typeface="Arial"/>
                <a:cs typeface="Arial"/>
                <a:sym typeface="Arial"/>
              </a:rPr>
              <a:t>Why Diversity Matters</a:t>
            </a:r>
          </a:p>
        </p:txBody>
      </p:sp>
      <p:pic>
        <p:nvPicPr>
          <p:cNvPr id="714" name="innoversity_logo_black.ai"/>
          <p:cNvPicPr>
            <a:picLocks noChangeAspect="1"/>
          </p:cNvPicPr>
          <p:nvPr/>
        </p:nvPicPr>
        <p:blipFill>
          <a:blip r:embed="rId4">
            <a:extLst/>
          </a:blip>
          <a:stretch>
            <a:fillRect/>
          </a:stretch>
        </p:blipFill>
        <p:spPr>
          <a:xfrm>
            <a:off x="1696065" y="196590"/>
            <a:ext cx="1439823" cy="234364"/>
          </a:xfrm>
          <a:prstGeom prst="rect">
            <a:avLst/>
          </a:prstGeom>
          <a:ln w="12700"/>
        </p:spPr>
      </p:pic>
      <p:sp>
        <p:nvSpPr>
          <p:cNvPr id="715" name="Shape 715"/>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716" name="Shape 716"/>
          <p:cNvSpPr>
            <a:spLocks noGrp="1"/>
          </p:cNvSpPr>
          <p:nvPr>
            <p:ph type="body" idx="1"/>
          </p:nvPr>
        </p:nvSpPr>
        <p:spPr>
          <a:xfrm>
            <a:off x="1863328" y="1874552"/>
            <a:ext cx="7708105" cy="4557428"/>
          </a:xfrm>
          <a:prstGeom prst="rect">
            <a:avLst/>
          </a:prstGeom>
        </p:spPr>
        <p:txBody>
          <a:bodyPr>
            <a:normAutofit fontScale="77500" lnSpcReduction="2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Companies with the most gender diversity (Top 25%) in their executive leadership teams were more likely to outperform on profitability (21%) and value creation (27%) </a:t>
            </a:r>
          </a:p>
          <a:p>
            <a:pPr marL="308151" marR="81299" lvl="1" indent="-267957">
              <a:lnSpc>
                <a:spcPct val="110000"/>
              </a:lnSpc>
              <a:buClr>
                <a:srgbClr val="929292"/>
              </a:buClr>
              <a:buSzPct val="125000"/>
              <a:buFont typeface="Helvetica"/>
              <a:buChar char="•"/>
              <a:defRPr sz="3500">
                <a:uFill>
                  <a:solidFill>
                    <a:srgbClr val="929292"/>
                  </a:solidFill>
                </a:uFill>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McKinsey study of 1000 companies in 12 countries (2018)</a:t>
            </a:r>
          </a:p>
        </p:txBody>
      </p:sp>
    </p:spTree>
    <p:extLst>
      <p:ext uri="{BB962C8B-B14F-4D97-AF65-F5344CB8AC3E}">
        <p14:creationId xmlns:p14="http://schemas.microsoft.com/office/powerpoint/2010/main" val="1610237232"/>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16">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71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71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 grpId="0" build="p" bldLvl="5" animBg="1" advAuto="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0" name="Shape 720"/>
          <p:cNvSpPr/>
          <p:nvPr/>
        </p:nvSpPr>
        <p:spPr>
          <a:xfrm>
            <a:off x="8879055" y="6252229"/>
            <a:ext cx="309397"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8</a:t>
            </a:r>
          </a:p>
        </p:txBody>
      </p:sp>
      <p:pic>
        <p:nvPicPr>
          <p:cNvPr id="721"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722" name="Shape 722"/>
          <p:cNvSpPr/>
          <p:nvPr/>
        </p:nvSpPr>
        <p:spPr>
          <a:xfrm>
            <a:off x="2745798" y="455520"/>
            <a:ext cx="7708104" cy="82253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40194" marR="40649" algn="r" defTabSz="643098" hangingPunct="0">
              <a:buClr>
                <a:srgbClr val="BE1900"/>
              </a:buClr>
              <a:defRPr sz="4800" b="1">
                <a:solidFill>
                  <a:srgbClr val="BE1900"/>
                </a:solidFill>
                <a:uFill>
                  <a:solidFill>
                    <a:srgbClr val="BE1900"/>
                  </a:solidFill>
                </a:uFill>
                <a:latin typeface="Arial"/>
                <a:ea typeface="Arial"/>
                <a:cs typeface="Arial"/>
                <a:sym typeface="Arial"/>
              </a:defRPr>
            </a:pPr>
            <a:r>
              <a:rPr sz="3376" b="1" kern="0">
                <a:solidFill>
                  <a:srgbClr val="BE1900"/>
                </a:solidFill>
                <a:uFill>
                  <a:solidFill>
                    <a:srgbClr val="BE1900"/>
                  </a:solidFill>
                </a:uFill>
                <a:latin typeface="Arial"/>
                <a:cs typeface="Arial"/>
                <a:sym typeface="Arial"/>
              </a:rPr>
              <a:t>WHAT IS A DIFFERENCE?</a:t>
            </a:r>
            <a:br>
              <a:rPr sz="3376" b="1" kern="0">
                <a:solidFill>
                  <a:srgbClr val="BE1900"/>
                </a:solidFill>
                <a:uFill>
                  <a:solidFill>
                    <a:srgbClr val="BE1900"/>
                  </a:solidFill>
                </a:uFill>
                <a:latin typeface="Arial"/>
                <a:cs typeface="Arial"/>
                <a:sym typeface="Arial"/>
              </a:rPr>
            </a:br>
            <a:r>
              <a:rPr sz="1969" b="1" kern="0">
                <a:solidFill>
                  <a:srgbClr val="000000"/>
                </a:solidFill>
                <a:uFill>
                  <a:solidFill>
                    <a:srgbClr val="BE1900"/>
                  </a:solidFill>
                </a:uFill>
                <a:latin typeface="Arial"/>
                <a:cs typeface="Arial"/>
                <a:sym typeface="Arial"/>
              </a:rPr>
              <a:t>A knowledge domain</a:t>
            </a:r>
          </a:p>
        </p:txBody>
      </p:sp>
      <p:grpSp>
        <p:nvGrpSpPr>
          <p:cNvPr id="725" name="Group 725"/>
          <p:cNvGrpSpPr/>
          <p:nvPr/>
        </p:nvGrpSpPr>
        <p:grpSpPr>
          <a:xfrm>
            <a:off x="2433187" y="1679170"/>
            <a:ext cx="4957124" cy="4117539"/>
            <a:chOff x="0" y="0"/>
            <a:chExt cx="7048500" cy="5854700"/>
          </a:xfrm>
        </p:grpSpPr>
        <p:sp>
          <p:nvSpPr>
            <p:cNvPr id="723" name="Shape 723"/>
            <p:cNvSpPr/>
            <p:nvPr/>
          </p:nvSpPr>
          <p:spPr>
            <a:xfrm>
              <a:off x="0" y="0"/>
              <a:ext cx="7048500" cy="5854700"/>
            </a:xfrm>
            <a:prstGeom prst="ellipse">
              <a:avLst/>
            </a:prstGeom>
            <a:solidFill>
              <a:srgbClr val="E1E1E1"/>
            </a:solidFill>
            <a:ln w="25400" cap="flat">
              <a:solidFill>
                <a:srgbClr val="BE1900">
                  <a:alpha val="98037"/>
                </a:srgbClr>
              </a:solidFill>
              <a:prstDash val="solid"/>
              <a:round/>
            </a:ln>
            <a:effectLst>
              <a:outerShdw blurRad="114300" dist="38100" dir="2700000" rotWithShape="0">
                <a:srgbClr val="BE1900">
                  <a:alpha val="75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24" name="Shape 724"/>
            <p:cNvSpPr/>
            <p:nvPr/>
          </p:nvSpPr>
          <p:spPr>
            <a:xfrm>
              <a:off x="1387524" y="1437535"/>
              <a:ext cx="4290912" cy="29701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p>
              <a:pPr marL="12281" marR="39959" algn="ctr" defTabSz="643098" hangingPunct="0">
                <a:buClr>
                  <a:srgbClr val="929292"/>
                </a:buClr>
                <a:defRPr sz="3400" b="1">
                  <a:uFill>
                    <a:solidFill>
                      <a:srgbClr val="000000"/>
                    </a:solidFill>
                  </a:uFill>
                  <a:latin typeface="Arial"/>
                  <a:ea typeface="Arial"/>
                  <a:cs typeface="Arial"/>
                  <a:sym typeface="Arial"/>
                </a:defRPr>
              </a:pPr>
              <a:r>
                <a:rPr sz="2391" b="1" kern="0">
                  <a:solidFill>
                    <a:srgbClr val="000000"/>
                  </a:solidFill>
                  <a:uFill>
                    <a:solidFill>
                      <a:srgbClr val="000000"/>
                    </a:solidFill>
                  </a:uFill>
                  <a:latin typeface="Arial"/>
                  <a:cs typeface="Arial"/>
                  <a:sym typeface="Arial"/>
                </a:rPr>
                <a:t>A unique set of</a:t>
              </a:r>
              <a:r>
                <a:rPr sz="2532" b="1" kern="0">
                  <a:solidFill>
                    <a:srgbClr val="000000"/>
                  </a:solidFill>
                  <a:uFill>
                    <a:solidFill>
                      <a:srgbClr val="929292"/>
                    </a:solidFill>
                  </a:uFill>
                  <a:latin typeface="Arial"/>
                  <a:cs typeface="Arial"/>
                  <a:sym typeface="Arial"/>
                </a:rPr>
                <a:t>:</a:t>
              </a:r>
              <a:r>
                <a:rPr sz="2391" b="1" kern="0">
                  <a:solidFill>
                    <a:srgbClr val="000000"/>
                  </a:solidFill>
                  <a:uFill>
                    <a:solidFill>
                      <a:srgbClr val="000000"/>
                    </a:solidFill>
                  </a:uFill>
                  <a:latin typeface="Arial"/>
                  <a:cs typeface="Arial"/>
                  <a:sym typeface="Arial"/>
                </a:rPr>
                <a:t/>
              </a:r>
              <a:br>
                <a:rPr sz="2391" b="1" kern="0">
                  <a:solidFill>
                    <a:srgbClr val="000000"/>
                  </a:solidFill>
                  <a:uFill>
                    <a:solidFill>
                      <a:srgbClr val="000000"/>
                    </a:solidFill>
                  </a:uFill>
                  <a:latin typeface="Arial"/>
                  <a:cs typeface="Arial"/>
                  <a:sym typeface="Arial"/>
                </a:rPr>
              </a:br>
              <a:endParaRPr sz="2391" b="1" kern="0">
                <a:solidFill>
                  <a:srgbClr val="000000"/>
                </a:solidFill>
                <a:uFill>
                  <a:solidFill>
                    <a:srgbClr val="000000"/>
                  </a:solidFill>
                </a:uFill>
                <a:latin typeface="Arial"/>
                <a:cs typeface="Arial"/>
                <a:sym typeface="Arial"/>
              </a:endParaRPr>
            </a:p>
            <a:p>
              <a:pPr marL="12281" marR="39959" algn="ctr" defTabSz="643098"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PERSPECTIVES</a:t>
              </a:r>
            </a:p>
            <a:p>
              <a:pPr marL="12281" marR="39959" algn="ctr" defTabSz="643098" hangingPunct="0">
                <a:buClr>
                  <a:srgbClr val="BE1900"/>
                </a:buClr>
                <a:defRPr sz="3400" b="1">
                  <a:uFill>
                    <a:solidFill>
                      <a:srgbClr val="BE1900"/>
                    </a:solidFill>
                  </a:uFill>
                  <a:latin typeface="Arial"/>
                  <a:ea typeface="Arial"/>
                  <a:cs typeface="Arial"/>
                  <a:sym typeface="Arial"/>
                </a:defRPr>
              </a:pPr>
              <a:r>
                <a:rPr sz="2391" b="1" kern="0">
                  <a:solidFill>
                    <a:srgbClr val="000000"/>
                  </a:solidFill>
                  <a:uFill>
                    <a:solidFill>
                      <a:srgbClr val="BE1900"/>
                    </a:solidFill>
                  </a:uFill>
                  <a:latin typeface="Arial"/>
                  <a:cs typeface="Arial"/>
                  <a:sym typeface="Arial"/>
                </a:rPr>
                <a:t>and</a:t>
              </a:r>
            </a:p>
            <a:p>
              <a:pPr marL="12281" marR="39959" algn="ctr" defTabSz="643098"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HEURISTICS</a:t>
              </a:r>
            </a:p>
          </p:txBody>
        </p:sp>
      </p:grpSp>
      <p:sp>
        <p:nvSpPr>
          <p:cNvPr id="726" name="Shape 726"/>
          <p:cNvSpPr/>
          <p:nvPr/>
        </p:nvSpPr>
        <p:spPr>
          <a:xfrm rot="8940000">
            <a:off x="7085515" y="2047605"/>
            <a:ext cx="911040" cy="759199"/>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16200" y="5400"/>
                </a:lnTo>
                <a:lnTo>
                  <a:pt x="3375" y="5400"/>
                </a:lnTo>
                <a:lnTo>
                  <a:pt x="3375" y="16200"/>
                </a:lnTo>
                <a:lnTo>
                  <a:pt x="16200" y="16200"/>
                </a:lnTo>
                <a:lnTo>
                  <a:pt x="16200" y="21600"/>
                </a:lnTo>
                <a:lnTo>
                  <a:pt x="21600" y="10800"/>
                </a:lnTo>
                <a:close/>
                <a:moveTo>
                  <a:pt x="1350" y="5400"/>
                </a:moveTo>
                <a:lnTo>
                  <a:pt x="1350" y="16200"/>
                </a:lnTo>
                <a:lnTo>
                  <a:pt x="2700" y="16200"/>
                </a:lnTo>
                <a:lnTo>
                  <a:pt x="2700" y="5400"/>
                </a:lnTo>
                <a:close/>
                <a:moveTo>
                  <a:pt x="0" y="5400"/>
                </a:moveTo>
                <a:lnTo>
                  <a:pt x="0" y="16200"/>
                </a:lnTo>
                <a:lnTo>
                  <a:pt x="675" y="16200"/>
                </a:lnTo>
                <a:lnTo>
                  <a:pt x="675" y="5400"/>
                </a:lnTo>
                <a:close/>
              </a:path>
            </a:pathLst>
          </a:custGeom>
          <a:ln w="12700">
            <a:solidFill>
              <a:srgbClr val="000000"/>
            </a:solidFill>
          </a:ln>
        </p:spPr>
        <p:txBody>
          <a:bodyPr lIns="35727" tIns="35727" rIns="35727" bIns="35727" anchor="ct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27" name="Shape 727"/>
          <p:cNvSpPr/>
          <p:nvPr/>
        </p:nvSpPr>
        <p:spPr>
          <a:xfrm>
            <a:off x="8009579" y="2054304"/>
            <a:ext cx="2321233" cy="282474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40194" marR="40649" defTabSz="643098" hangingPunct="0">
              <a:buClr>
                <a:srgbClr val="BE1900"/>
              </a:buClr>
              <a:defRPr sz="2200">
                <a:uFill>
                  <a:solidFill>
                    <a:srgbClr val="000000"/>
                  </a:solidFill>
                </a:uFill>
                <a:latin typeface="Arial"/>
                <a:ea typeface="Arial"/>
                <a:cs typeface="Arial"/>
                <a:sym typeface="Arial"/>
              </a:defRPr>
            </a:pPr>
            <a:r>
              <a:rPr sz="1547" b="1" kern="0">
                <a:solidFill>
                  <a:srgbClr val="000000"/>
                </a:solidFill>
                <a:uFill>
                  <a:solidFill>
                    <a:srgbClr val="BE1900"/>
                  </a:solidFill>
                </a:uFill>
                <a:latin typeface="Arial"/>
                <a:cs typeface="Arial"/>
                <a:sym typeface="Arial"/>
              </a:rPr>
              <a:t>PERSPECTIVES:</a:t>
            </a:r>
            <a:r>
              <a:rPr sz="1547" kern="0">
                <a:solidFill>
                  <a:srgbClr val="000000"/>
                </a:solidFill>
                <a:uFill>
                  <a:solidFill>
                    <a:srgbClr val="BE1900"/>
                  </a:solidFill>
                </a:uFill>
                <a:latin typeface="Arial"/>
                <a:cs typeface="Arial"/>
                <a:sym typeface="Arial"/>
              </a:rPr>
              <a:t> </a:t>
            </a:r>
            <a:r>
              <a:rPr sz="1477" kern="0">
                <a:solidFill>
                  <a:srgbClr val="000000"/>
                </a:solidFill>
                <a:uFill>
                  <a:solidFill>
                    <a:srgbClr val="BE1900"/>
                  </a:solidFill>
                </a:uFill>
                <a:latin typeface="Arial"/>
                <a:cs typeface="Arial"/>
                <a:sym typeface="Arial"/>
              </a:rPr>
              <a:t>A particular way of under-standing a particular situation or problem</a:t>
            </a:r>
            <a:r>
              <a:rPr sz="1477" kern="0">
                <a:solidFill>
                  <a:srgbClr val="000000"/>
                </a:solidFill>
                <a:uFill>
                  <a:solidFill>
                    <a:srgbClr val="929292"/>
                  </a:solidFill>
                </a:uFill>
                <a:latin typeface="Arial"/>
                <a:cs typeface="Arial"/>
                <a:sym typeface="Arial"/>
              </a:rPr>
              <a:t/>
            </a:r>
            <a:br>
              <a:rPr sz="1477" kern="0">
                <a:solidFill>
                  <a:srgbClr val="000000"/>
                </a:solidFill>
                <a:uFill>
                  <a:solidFill>
                    <a:srgbClr val="929292"/>
                  </a:solidFill>
                </a:uFill>
                <a:latin typeface="Arial"/>
                <a:cs typeface="Arial"/>
                <a:sym typeface="Arial"/>
              </a:rPr>
            </a:br>
            <a:endParaRPr sz="1477" kern="0">
              <a:solidFill>
                <a:srgbClr val="000000"/>
              </a:solidFill>
              <a:uFill>
                <a:solidFill>
                  <a:srgbClr val="929292"/>
                </a:solidFill>
              </a:uFill>
              <a:latin typeface="Arial"/>
              <a:cs typeface="Arial"/>
              <a:sym typeface="Arial"/>
            </a:endParaRPr>
          </a:p>
          <a:p>
            <a:pPr marL="40194" marR="40649" defTabSz="643098" hangingPunct="0">
              <a:buClr>
                <a:srgbClr val="BE1900"/>
              </a:buClr>
              <a:defRPr sz="2200">
                <a:uFill>
                  <a:solidFill>
                    <a:srgbClr val="000000"/>
                  </a:solidFill>
                </a:uFill>
                <a:latin typeface="Arial"/>
                <a:ea typeface="Arial"/>
                <a:cs typeface="Arial"/>
                <a:sym typeface="Arial"/>
              </a:defRPr>
            </a:pPr>
            <a:r>
              <a:rPr sz="1547" kern="0">
                <a:solidFill>
                  <a:srgbClr val="000000"/>
                </a:solidFill>
                <a:uFill>
                  <a:solidFill>
                    <a:srgbClr val="000000"/>
                  </a:solidFill>
                </a:uFill>
                <a:latin typeface="Arial"/>
                <a:cs typeface="Arial"/>
                <a:sym typeface="Arial"/>
              </a:rPr>
              <a:t/>
            </a:r>
            <a:br>
              <a:rPr sz="1547" kern="0">
                <a:solidFill>
                  <a:srgbClr val="000000"/>
                </a:solidFill>
                <a:uFill>
                  <a:solidFill>
                    <a:srgbClr val="000000"/>
                  </a:solidFill>
                </a:uFill>
                <a:latin typeface="Arial"/>
                <a:cs typeface="Arial"/>
                <a:sym typeface="Arial"/>
              </a:rPr>
            </a:br>
            <a:r>
              <a:rPr sz="1547" kern="0">
                <a:solidFill>
                  <a:srgbClr val="000000"/>
                </a:solidFill>
                <a:uFill>
                  <a:solidFill>
                    <a:srgbClr val="000000"/>
                  </a:solidFill>
                </a:uFill>
                <a:latin typeface="Arial"/>
                <a:cs typeface="Arial"/>
                <a:sym typeface="Arial"/>
              </a:rPr>
              <a:t/>
            </a:r>
            <a:br>
              <a:rPr sz="1547" kern="0">
                <a:solidFill>
                  <a:srgbClr val="000000"/>
                </a:solidFill>
                <a:uFill>
                  <a:solidFill>
                    <a:srgbClr val="000000"/>
                  </a:solidFill>
                </a:uFill>
                <a:latin typeface="Arial"/>
                <a:cs typeface="Arial"/>
                <a:sym typeface="Arial"/>
              </a:rPr>
            </a:br>
            <a:r>
              <a:rPr sz="1547" b="1" kern="0">
                <a:solidFill>
                  <a:srgbClr val="000000"/>
                </a:solidFill>
                <a:uFill>
                  <a:solidFill>
                    <a:srgbClr val="BE1900"/>
                  </a:solidFill>
                </a:uFill>
                <a:latin typeface="Arial"/>
                <a:cs typeface="Arial"/>
                <a:sym typeface="Arial"/>
              </a:rPr>
              <a:t>HEURISTICS:</a:t>
            </a:r>
            <a:r>
              <a:rPr sz="1547" kern="0">
                <a:solidFill>
                  <a:srgbClr val="000000"/>
                </a:solidFill>
                <a:uFill>
                  <a:solidFill>
                    <a:srgbClr val="BE1900"/>
                  </a:solidFill>
                </a:uFill>
                <a:latin typeface="Arial"/>
                <a:cs typeface="Arial"/>
                <a:sym typeface="Arial"/>
              </a:rPr>
              <a:t> A particular preference in terms of how the problem should best be solved</a:t>
            </a:r>
          </a:p>
          <a:p>
            <a:pPr marL="40194" marR="40649" defTabSz="643098" hangingPunct="0">
              <a:buClr>
                <a:srgbClr val="929292"/>
              </a:buClr>
              <a:defRPr sz="2300">
                <a:uFill>
                  <a:solidFill>
                    <a:srgbClr val="929292"/>
                  </a:solidFill>
                </a:uFill>
                <a:latin typeface="Calibri"/>
                <a:ea typeface="Calibri"/>
                <a:cs typeface="Calibri"/>
                <a:sym typeface="Calibri"/>
              </a:defRPr>
            </a:pPr>
            <a:endParaRPr sz="1618" kern="0">
              <a:solidFill>
                <a:srgbClr val="000000"/>
              </a:solidFill>
              <a:uFill>
                <a:solidFill>
                  <a:srgbClr val="BE1900"/>
                </a:solidFill>
              </a:uFill>
              <a:latin typeface="Calibri"/>
              <a:cs typeface="Calibri"/>
              <a:sym typeface="Calibri"/>
            </a:endParaRPr>
          </a:p>
        </p:txBody>
      </p:sp>
      <p:pic>
        <p:nvPicPr>
          <p:cNvPr id="72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29" name="Shape 729"/>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2563829287"/>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 name="Shape 670"/>
          <p:cNvSpPr/>
          <p:nvPr/>
        </p:nvSpPr>
        <p:spPr>
          <a:xfrm>
            <a:off x="8889856" y="6252229"/>
            <a:ext cx="333762"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r>
              <a:rPr sz="1266"/>
              <a:t>50</a:t>
            </a:r>
          </a:p>
        </p:txBody>
      </p:sp>
      <p:pic>
        <p:nvPicPr>
          <p:cNvPr id="671" name="image.png"/>
          <p:cNvPicPr>
            <a:picLocks/>
          </p:cNvPicPr>
          <p:nvPr/>
        </p:nvPicPr>
        <p:blipFill>
          <a:blip r:embed="rId2">
            <a:extLst/>
          </a:blip>
          <a:stretch>
            <a:fillRect/>
          </a:stretch>
        </p:blipFill>
        <p:spPr>
          <a:xfrm>
            <a:off x="8256691" y="4269379"/>
            <a:ext cx="2409341" cy="2590209"/>
          </a:xfrm>
          <a:prstGeom prst="rect">
            <a:avLst/>
          </a:prstGeom>
          <a:ln w="12700">
            <a:miter lim="400000"/>
          </a:ln>
        </p:spPr>
      </p:pic>
      <p:grpSp>
        <p:nvGrpSpPr>
          <p:cNvPr id="674" name="Group 674"/>
          <p:cNvGrpSpPr/>
          <p:nvPr/>
        </p:nvGrpSpPr>
        <p:grpSpPr>
          <a:xfrm>
            <a:off x="2045771" y="785995"/>
            <a:ext cx="1636745" cy="1527330"/>
            <a:chOff x="0" y="0"/>
            <a:chExt cx="2327275" cy="2171700"/>
          </a:xfrm>
        </p:grpSpPr>
        <p:sp>
          <p:nvSpPr>
            <p:cNvPr id="672" name="Shape 672"/>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73" name="Shape 673"/>
            <p:cNvSpPr/>
            <p:nvPr/>
          </p:nvSpPr>
          <p:spPr>
            <a:xfrm>
              <a:off x="486574" y="901230"/>
              <a:ext cx="1447714" cy="3692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Novozymes</a:t>
              </a:r>
            </a:p>
          </p:txBody>
        </p:sp>
      </p:grpSp>
      <p:grpSp>
        <p:nvGrpSpPr>
          <p:cNvPr id="677" name="Group 677"/>
          <p:cNvGrpSpPr/>
          <p:nvPr/>
        </p:nvGrpSpPr>
        <p:grpSpPr>
          <a:xfrm>
            <a:off x="6685951" y="953386"/>
            <a:ext cx="1636745" cy="1527331"/>
            <a:chOff x="0" y="0"/>
            <a:chExt cx="2327275" cy="2171700"/>
          </a:xfrm>
        </p:grpSpPr>
        <p:sp>
          <p:nvSpPr>
            <p:cNvPr id="675" name="Shape 675"/>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76" name="Shape 676"/>
            <p:cNvSpPr/>
            <p:nvPr/>
          </p:nvSpPr>
          <p:spPr>
            <a:xfrm>
              <a:off x="713707" y="901229"/>
              <a:ext cx="991854" cy="3692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Female</a:t>
              </a:r>
            </a:p>
          </p:txBody>
        </p:sp>
      </p:grpSp>
      <p:grpSp>
        <p:nvGrpSpPr>
          <p:cNvPr id="680" name="Group 680"/>
          <p:cNvGrpSpPr/>
          <p:nvPr/>
        </p:nvGrpSpPr>
        <p:grpSpPr>
          <a:xfrm>
            <a:off x="5780920" y="3845121"/>
            <a:ext cx="1637862" cy="1527330"/>
            <a:chOff x="0" y="0"/>
            <a:chExt cx="2328863" cy="2171700"/>
          </a:xfrm>
        </p:grpSpPr>
        <p:sp>
          <p:nvSpPr>
            <p:cNvPr id="678" name="Shape 678"/>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79" name="Shape 679"/>
            <p:cNvSpPr/>
            <p:nvPr/>
          </p:nvSpPr>
          <p:spPr>
            <a:xfrm>
              <a:off x="473642" y="761431"/>
              <a:ext cx="1446346" cy="6615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Chemical</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Engineering</a:t>
              </a:r>
            </a:p>
          </p:txBody>
        </p:sp>
      </p:grpSp>
      <p:sp>
        <p:nvSpPr>
          <p:cNvPr id="681" name="Shape 681"/>
          <p:cNvSpPr/>
          <p:nvPr/>
        </p:nvSpPr>
        <p:spPr>
          <a:xfrm>
            <a:off x="2745798" y="303680"/>
            <a:ext cx="7708104" cy="40043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marR="57798" algn="r" defTabSz="914400">
              <a:buClr>
                <a:srgbClr val="BE1900"/>
              </a:buClr>
              <a:buFont typeface="Century Gothic"/>
              <a:defRPr sz="3700" b="1">
                <a:solidFill>
                  <a:srgbClr val="BE1900"/>
                </a:solidFill>
                <a:uFill>
                  <a:solidFill>
                    <a:srgbClr val="BE1900"/>
                  </a:solidFill>
                </a:uFill>
                <a:latin typeface="Arial"/>
                <a:ea typeface="Arial"/>
                <a:cs typeface="Arial"/>
                <a:sym typeface="Arial"/>
              </a:defRPr>
            </a:lvl1pPr>
          </a:lstStyle>
          <a:p>
            <a:r>
              <a:rPr sz="2602"/>
              <a:t>EXAMPLES OF KNOWLEDGE DOMAINS</a:t>
            </a:r>
          </a:p>
        </p:txBody>
      </p:sp>
      <p:grpSp>
        <p:nvGrpSpPr>
          <p:cNvPr id="684" name="Group 684"/>
          <p:cNvGrpSpPr/>
          <p:nvPr/>
        </p:nvGrpSpPr>
        <p:grpSpPr>
          <a:xfrm>
            <a:off x="1588019" y="3822791"/>
            <a:ext cx="1637862" cy="1527330"/>
            <a:chOff x="0" y="0"/>
            <a:chExt cx="2328863" cy="2171700"/>
          </a:xfrm>
        </p:grpSpPr>
        <p:sp>
          <p:nvSpPr>
            <p:cNvPr id="682" name="Shape 682"/>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83" name="Shape 683"/>
            <p:cNvSpPr/>
            <p:nvPr/>
          </p:nvSpPr>
          <p:spPr>
            <a:xfrm>
              <a:off x="627371" y="907580"/>
              <a:ext cx="1167359" cy="3692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Denmark</a:t>
              </a:r>
            </a:p>
          </p:txBody>
        </p:sp>
      </p:grpSp>
      <p:grpSp>
        <p:nvGrpSpPr>
          <p:cNvPr id="687" name="Group 687"/>
          <p:cNvGrpSpPr/>
          <p:nvPr/>
        </p:nvGrpSpPr>
        <p:grpSpPr>
          <a:xfrm>
            <a:off x="7846574" y="3602808"/>
            <a:ext cx="1637862" cy="1527331"/>
            <a:chOff x="0" y="0"/>
            <a:chExt cx="2328863" cy="2171700"/>
          </a:xfrm>
        </p:grpSpPr>
        <p:sp>
          <p:nvSpPr>
            <p:cNvPr id="685" name="Shape 685"/>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86" name="Shape 686"/>
            <p:cNvSpPr/>
            <p:nvPr/>
          </p:nvSpPr>
          <p:spPr>
            <a:xfrm>
              <a:off x="373140" y="747143"/>
              <a:ext cx="1583103" cy="66153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Generation X</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1965-1980)</a:t>
              </a:r>
            </a:p>
          </p:txBody>
        </p:sp>
      </p:grpSp>
      <p:grpSp>
        <p:nvGrpSpPr>
          <p:cNvPr id="690" name="Group 690"/>
          <p:cNvGrpSpPr/>
          <p:nvPr/>
        </p:nvGrpSpPr>
        <p:grpSpPr>
          <a:xfrm>
            <a:off x="5276276" y="1000357"/>
            <a:ext cx="1637862" cy="1527330"/>
            <a:chOff x="0" y="0"/>
            <a:chExt cx="2328863" cy="2171700"/>
          </a:xfrm>
        </p:grpSpPr>
        <p:sp>
          <p:nvSpPr>
            <p:cNvPr id="688" name="Shape 688"/>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89" name="Shape 689"/>
            <p:cNvSpPr/>
            <p:nvPr/>
          </p:nvSpPr>
          <p:spPr>
            <a:xfrm>
              <a:off x="855298" y="894880"/>
              <a:ext cx="709221" cy="3692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Male</a:t>
              </a:r>
            </a:p>
          </p:txBody>
        </p:sp>
      </p:grpSp>
      <p:grpSp>
        <p:nvGrpSpPr>
          <p:cNvPr id="693" name="Group 693"/>
          <p:cNvGrpSpPr/>
          <p:nvPr/>
        </p:nvGrpSpPr>
        <p:grpSpPr>
          <a:xfrm>
            <a:off x="8395133" y="2375847"/>
            <a:ext cx="1637862" cy="1527330"/>
            <a:chOff x="0" y="0"/>
            <a:chExt cx="2328863" cy="2171700"/>
          </a:xfrm>
        </p:grpSpPr>
        <p:sp>
          <p:nvSpPr>
            <p:cNvPr id="691" name="Shape 691"/>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92" name="Shape 692"/>
            <p:cNvSpPr/>
            <p:nvPr/>
          </p:nvSpPr>
          <p:spPr>
            <a:xfrm>
              <a:off x="377500" y="751906"/>
              <a:ext cx="1610455" cy="6615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Generation Y</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1981 - 1996)</a:t>
              </a:r>
            </a:p>
          </p:txBody>
        </p:sp>
      </p:grpSp>
      <p:grpSp>
        <p:nvGrpSpPr>
          <p:cNvPr id="696" name="Group 696"/>
          <p:cNvGrpSpPr/>
          <p:nvPr/>
        </p:nvGrpSpPr>
        <p:grpSpPr>
          <a:xfrm>
            <a:off x="4614588" y="4589382"/>
            <a:ext cx="1636745" cy="1527331"/>
            <a:chOff x="0" y="0"/>
            <a:chExt cx="2327275" cy="2171700"/>
          </a:xfrm>
        </p:grpSpPr>
        <p:sp>
          <p:nvSpPr>
            <p:cNvPr id="694" name="Shape 694"/>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95" name="Shape 695"/>
            <p:cNvSpPr/>
            <p:nvPr/>
          </p:nvSpPr>
          <p:spPr>
            <a:xfrm>
              <a:off x="405131" y="748730"/>
              <a:ext cx="1580824" cy="66153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Business</a:t>
              </a:r>
            </a:p>
            <a:p>
              <a:pPr marL="12281" marR="39959" defTabSz="643098">
                <a:buClr>
                  <a:srgbClr val="929292"/>
                </a:buClr>
                <a:buFont typeface="Century Gothic"/>
                <a:defRPr sz="1900">
                  <a:uFill>
                    <a:solidFill>
                      <a:srgbClr val="929292"/>
                    </a:solidFill>
                  </a:uFill>
                  <a:latin typeface="Arial"/>
                  <a:ea typeface="Arial"/>
                  <a:cs typeface="Arial"/>
                  <a:sym typeface="Arial"/>
                </a:defRPr>
              </a:pPr>
              <a:r>
                <a:rPr sz="1336"/>
                <a:t>Development</a:t>
              </a:r>
            </a:p>
          </p:txBody>
        </p:sp>
      </p:grpSp>
      <p:grpSp>
        <p:nvGrpSpPr>
          <p:cNvPr id="699" name="Group 699"/>
          <p:cNvGrpSpPr/>
          <p:nvPr/>
        </p:nvGrpSpPr>
        <p:grpSpPr>
          <a:xfrm>
            <a:off x="2644872" y="1788802"/>
            <a:ext cx="1636745" cy="1527331"/>
            <a:chOff x="0" y="0"/>
            <a:chExt cx="2327275" cy="2171700"/>
          </a:xfrm>
        </p:grpSpPr>
        <p:sp>
          <p:nvSpPr>
            <p:cNvPr id="697" name="Shape 697"/>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698" name="Shape 698"/>
            <p:cNvSpPr/>
            <p:nvPr/>
          </p:nvSpPr>
          <p:spPr>
            <a:xfrm>
              <a:off x="874405" y="894879"/>
              <a:ext cx="681870" cy="3692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DTU</a:t>
              </a:r>
            </a:p>
          </p:txBody>
        </p:sp>
      </p:grpSp>
      <p:grpSp>
        <p:nvGrpSpPr>
          <p:cNvPr id="702" name="Group 702"/>
          <p:cNvGrpSpPr/>
          <p:nvPr/>
        </p:nvGrpSpPr>
        <p:grpSpPr>
          <a:xfrm>
            <a:off x="2348335" y="4945215"/>
            <a:ext cx="1750624" cy="1527331"/>
            <a:chOff x="0" y="0"/>
            <a:chExt cx="2489200" cy="2171700"/>
          </a:xfrm>
        </p:grpSpPr>
        <p:sp>
          <p:nvSpPr>
            <p:cNvPr id="700" name="Shape 700"/>
            <p:cNvSpPr/>
            <p:nvPr/>
          </p:nvSpPr>
          <p:spPr>
            <a:xfrm>
              <a:off x="0" y="0"/>
              <a:ext cx="2489200"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a:defRPr sz="3400">
                  <a:uFill>
                    <a:solidFill>
                      <a:srgbClr val="000000"/>
                    </a:solidFill>
                  </a:uFill>
                  <a:latin typeface="Arial"/>
                  <a:ea typeface="Arial"/>
                  <a:cs typeface="Arial"/>
                  <a:sym typeface="Arial"/>
                </a:defRPr>
              </a:pPr>
              <a:endParaRPr sz="2391"/>
            </a:p>
          </p:txBody>
        </p:sp>
        <p:sp>
          <p:nvSpPr>
            <p:cNvPr id="701" name="Shape 701"/>
            <p:cNvSpPr/>
            <p:nvPr/>
          </p:nvSpPr>
          <p:spPr>
            <a:xfrm>
              <a:off x="502443" y="896467"/>
              <a:ext cx="1498601" cy="3692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r>
                <a:rPr sz="1336"/>
                <a:t>China</a:t>
              </a:r>
            </a:p>
          </p:txBody>
        </p:sp>
      </p:grpSp>
      <p:pic>
        <p:nvPicPr>
          <p:cNvPr id="70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04" name="Shape 704"/>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r>
              <a:rPr sz="774"/>
              <a:t>2018 © INNOVERSITY COPENHAGEN</a:t>
            </a:r>
          </a:p>
        </p:txBody>
      </p:sp>
    </p:spTree>
    <p:extLst>
      <p:ext uri="{BB962C8B-B14F-4D97-AF65-F5344CB8AC3E}">
        <p14:creationId xmlns:p14="http://schemas.microsoft.com/office/powerpoint/2010/main" val="1053479195"/>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8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69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68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7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iterate>
                                    <p:tmAbs val="0"/>
                                  </p:iterate>
                                  <p:childTnLst>
                                    <p:set>
                                      <p:cBhvr>
                                        <p:cTn id="22" fill="hold"/>
                                        <p:tgtEl>
                                          <p:spTgt spid="67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iterate>
                                    <p:tmAbs val="0"/>
                                  </p:iterate>
                                  <p:childTnLst>
                                    <p:set>
                                      <p:cBhvr>
                                        <p:cTn id="26" fill="hold"/>
                                        <p:tgtEl>
                                          <p:spTgt spid="69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iterate>
                                    <p:tmAbs val="0"/>
                                  </p:iterate>
                                  <p:childTnLst>
                                    <p:set>
                                      <p:cBhvr>
                                        <p:cTn id="30" fill="hold"/>
                                        <p:tgtEl>
                                          <p:spTgt spid="69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iterate>
                                    <p:tmAbs val="0"/>
                                  </p:iterate>
                                  <p:childTnLst>
                                    <p:set>
                                      <p:cBhvr>
                                        <p:cTn id="34" fill="hold"/>
                                        <p:tgtEl>
                                          <p:spTgt spid="68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iterate>
                                    <p:tmAbs val="0"/>
                                  </p:iterate>
                                  <p:childTnLst>
                                    <p:set>
                                      <p:cBhvr>
                                        <p:cTn id="38" fill="hold"/>
                                        <p:tgtEl>
                                          <p:spTgt spid="69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iterate>
                                    <p:tmAbs val="0"/>
                                  </p:iterate>
                                  <p:childTnLst>
                                    <p:set>
                                      <p:cBhvr>
                                        <p:cTn id="42" fill="hold"/>
                                        <p:tgtEl>
                                          <p:spTgt spid="6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4" grpId="0" animBg="1" advAuto="0"/>
      <p:bldP spid="677" grpId="0" animBg="1" advAuto="0"/>
      <p:bldP spid="680" grpId="0" animBg="1" advAuto="0"/>
      <p:bldP spid="684" grpId="0" animBg="1" advAuto="0"/>
      <p:bldP spid="687" grpId="0" animBg="1" advAuto="0"/>
      <p:bldP spid="690" grpId="0" animBg="1" advAuto="0"/>
      <p:bldP spid="693" grpId="0" animBg="1" advAuto="0"/>
      <p:bldP spid="696" grpId="0" animBg="1" advAuto="0"/>
      <p:bldP spid="699" grpId="0" animBg="1" advAuto="0"/>
      <p:bldP spid="702" grpId="0" animBg="1" advAuto="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7" name="image.png"/>
          <p:cNvPicPr>
            <a:picLocks/>
          </p:cNvPicPr>
          <p:nvPr/>
        </p:nvPicPr>
        <p:blipFill>
          <a:blip r:embed="rId2">
            <a:extLst/>
          </a:blip>
          <a:stretch>
            <a:fillRect/>
          </a:stretch>
        </p:blipFill>
        <p:spPr>
          <a:xfrm>
            <a:off x="8186427" y="4188993"/>
            <a:ext cx="2481838" cy="2670595"/>
          </a:xfrm>
          <a:prstGeom prst="rect">
            <a:avLst/>
          </a:prstGeom>
          <a:ln w="12700">
            <a:miter lim="400000"/>
          </a:ln>
        </p:spPr>
      </p:pic>
      <p:sp>
        <p:nvSpPr>
          <p:cNvPr id="768" name="Shape 768"/>
          <p:cNvSpPr>
            <a:spLocks noGrp="1"/>
          </p:cNvSpPr>
          <p:nvPr>
            <p:ph type="body" idx="1"/>
          </p:nvPr>
        </p:nvSpPr>
        <p:spPr>
          <a:xfrm>
            <a:off x="1700783" y="1675624"/>
            <a:ext cx="8690597" cy="4527011"/>
          </a:xfrm>
          <a:prstGeom prst="rect">
            <a:avLst/>
          </a:prstGeom>
        </p:spPr>
        <p:txBody>
          <a:bodyPr/>
          <a:lstStyle/>
          <a:p>
            <a:pPr marL="371482" marR="81300" indent="-342900">
              <a:lnSpc>
                <a:spcPct val="120000"/>
              </a:lnSpc>
              <a:buClr>
                <a:srgbClr val="BE1900"/>
              </a:buClr>
              <a:buSzPct val="127999"/>
              <a:defRPr sz="2400" b="1"/>
            </a:pPr>
            <a:r>
              <a:rPr sz="2000" dirty="0" smtClean="0">
                <a:uFill>
                  <a:solidFill>
                    <a:srgbClr val="606060"/>
                  </a:solidFill>
                </a:uFill>
              </a:rPr>
              <a:t>WHEN </a:t>
            </a:r>
            <a:r>
              <a:rPr sz="2000" dirty="0">
                <a:uFill>
                  <a:solidFill>
                    <a:srgbClr val="606060"/>
                  </a:solidFill>
                </a:uFill>
              </a:rPr>
              <a:t>WE COLLABORATE WITH OTHERS IN GROUPS - OFTEN, A FEW KNOWLEDGE DOMAINS ARE ALLOWED TO DOMINATE </a:t>
            </a:r>
            <a:r>
              <a:rPr sz="2000" dirty="0">
                <a:solidFill>
                  <a:srgbClr val="CD0000"/>
                </a:solidFill>
                <a:uFill>
                  <a:solidFill>
                    <a:srgbClr val="606060"/>
                  </a:solidFill>
                </a:uFill>
              </a:rPr>
              <a:t>(HOMOGENEITY)</a:t>
            </a:r>
            <a:r>
              <a:rPr sz="2000" dirty="0">
                <a:uFill>
                  <a:solidFill>
                    <a:srgbClr val="606060"/>
                  </a:solidFill>
                </a:uFill>
              </a:rPr>
              <a:t> </a:t>
            </a:r>
            <a:r>
              <a:rPr sz="2000" dirty="0">
                <a:uFill>
                  <a:solidFill>
                    <a:srgbClr val="929292"/>
                  </a:solidFill>
                </a:uFill>
              </a:rPr>
              <a:t>=&gt;</a:t>
            </a:r>
            <a:endParaRPr sz="2000" dirty="0">
              <a:uFill>
                <a:solidFill>
                  <a:srgbClr val="606060"/>
                </a:solidFill>
              </a:uFill>
            </a:endParaRPr>
          </a:p>
          <a:p>
            <a:pPr marL="1421959" lvl="2" indent="-267957">
              <a:lnSpc>
                <a:spcPct val="120000"/>
              </a:lnSpc>
              <a:spcBef>
                <a:spcPts val="492"/>
              </a:spcBef>
              <a:buClr>
                <a:srgbClr val="BE1900"/>
              </a:buClr>
              <a:buFont typeface="Helvetica"/>
              <a:defRPr sz="2400">
                <a:uFill>
                  <a:solidFill>
                    <a:srgbClr val="929292"/>
                  </a:solidFill>
                </a:uFill>
              </a:defRPr>
            </a:pPr>
            <a:r>
              <a:rPr sz="2000" dirty="0"/>
              <a:t>Limited search for information</a:t>
            </a:r>
          </a:p>
          <a:p>
            <a:pPr marL="1421959" lvl="2" indent="-267957">
              <a:lnSpc>
                <a:spcPct val="120000"/>
              </a:lnSpc>
              <a:spcBef>
                <a:spcPts val="492"/>
              </a:spcBef>
              <a:buClr>
                <a:srgbClr val="BE1900"/>
              </a:buClr>
              <a:buFont typeface="Helvetica"/>
              <a:defRPr sz="2400">
                <a:uFill>
                  <a:solidFill>
                    <a:srgbClr val="929292"/>
                  </a:solidFill>
                </a:uFill>
              </a:defRPr>
            </a:pPr>
            <a:r>
              <a:rPr sz="2000" dirty="0"/>
              <a:t>Limited discussion of alternatives</a:t>
            </a:r>
          </a:p>
          <a:p>
            <a:pPr marL="1421959" lvl="2" indent="-267957">
              <a:lnSpc>
                <a:spcPct val="120000"/>
              </a:lnSpc>
              <a:spcBef>
                <a:spcPts val="492"/>
              </a:spcBef>
              <a:buClr>
                <a:srgbClr val="BE1900"/>
              </a:buClr>
              <a:buFont typeface="Helvetica"/>
              <a:defRPr sz="2400">
                <a:uFill>
                  <a:solidFill>
                    <a:srgbClr val="929292"/>
                  </a:solidFill>
                </a:uFill>
              </a:defRPr>
            </a:pPr>
            <a:r>
              <a:rPr sz="2000" dirty="0"/>
              <a:t>Faulty decision-making and biased problem solving</a:t>
            </a:r>
            <a:br>
              <a:rPr sz="2000" dirty="0"/>
            </a:br>
            <a:endParaRPr sz="2000" dirty="0"/>
          </a:p>
          <a:p>
            <a:pPr marL="1475551" marR="40650" lvl="7" indent="-160774" defTabSz="911055">
              <a:lnSpc>
                <a:spcPct val="120000"/>
              </a:lnSpc>
              <a:spcBef>
                <a:spcPts val="492"/>
              </a:spcBef>
              <a:buClr>
                <a:srgbClr val="BE1900"/>
              </a:buClr>
              <a:buSzPct val="100000"/>
              <a:buFont typeface="Helvetica"/>
              <a:buChar char="–"/>
              <a:defRPr sz="2400">
                <a:uFill>
                  <a:solidFill>
                    <a:srgbClr val="929292"/>
                  </a:solidFill>
                </a:uFill>
                <a:latin typeface="Arial"/>
                <a:ea typeface="Arial"/>
                <a:cs typeface="Arial"/>
                <a:sym typeface="Arial"/>
              </a:defRPr>
            </a:pPr>
            <a:r>
              <a:rPr sz="2000" dirty="0"/>
              <a:t>       </a:t>
            </a:r>
            <a:r>
              <a:rPr sz="2000" b="1" dirty="0"/>
              <a:t>and that is because…</a:t>
            </a:r>
            <a:r>
              <a:rPr sz="2000" dirty="0"/>
              <a:t/>
            </a:r>
            <a:br>
              <a:rPr sz="2000" dirty="0"/>
            </a:br>
            <a:endParaRPr sz="2000" dirty="0"/>
          </a:p>
          <a:p>
            <a:pPr marL="1421959" lvl="2" indent="-267957">
              <a:lnSpc>
                <a:spcPct val="120000"/>
              </a:lnSpc>
              <a:spcBef>
                <a:spcPts val="492"/>
              </a:spcBef>
              <a:buClr>
                <a:srgbClr val="BE1900"/>
              </a:buClr>
              <a:buFont typeface="Helvetica"/>
              <a:defRPr sz="2400">
                <a:uFill>
                  <a:solidFill>
                    <a:srgbClr val="929292"/>
                  </a:solidFill>
                </a:uFill>
              </a:defRPr>
            </a:pPr>
            <a:r>
              <a:rPr sz="2000" dirty="0"/>
              <a:t>Group relations become more important than the result (R vs R)</a:t>
            </a:r>
          </a:p>
          <a:p>
            <a:pPr marL="1421959" lvl="2" indent="-267957">
              <a:lnSpc>
                <a:spcPct val="120000"/>
              </a:lnSpc>
              <a:spcBef>
                <a:spcPts val="492"/>
              </a:spcBef>
              <a:buClr>
                <a:srgbClr val="BE1900"/>
              </a:buClr>
              <a:buFont typeface="Helvetica"/>
              <a:defRPr sz="2400">
                <a:uFill>
                  <a:solidFill>
                    <a:srgbClr val="929292"/>
                  </a:solidFill>
                </a:uFill>
              </a:defRPr>
            </a:pPr>
            <a:r>
              <a:rPr sz="2000" dirty="0"/>
              <a:t>AVAILABILITY of knowledge domains ≠ USE</a:t>
            </a:r>
          </a:p>
        </p:txBody>
      </p:sp>
      <p:sp>
        <p:nvSpPr>
          <p:cNvPr id="769" name="Shape 769"/>
          <p:cNvSpPr/>
          <p:nvPr/>
        </p:nvSpPr>
        <p:spPr>
          <a:xfrm>
            <a:off x="2745798" y="455520"/>
            <a:ext cx="7699172" cy="692690"/>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39697" marR="40650" algn="r" defTabSz="911055" hangingPunct="0">
              <a:buClr>
                <a:srgbClr val="BE1900"/>
              </a:buClr>
              <a:defRPr sz="3700" b="1">
                <a:solidFill>
                  <a:srgbClr val="BE1900"/>
                </a:solidFill>
                <a:uFill>
                  <a:solidFill>
                    <a:srgbClr val="BE1900"/>
                  </a:solidFill>
                </a:uFill>
                <a:latin typeface="Arial"/>
                <a:ea typeface="Arial"/>
                <a:cs typeface="Arial"/>
                <a:sym typeface="Arial"/>
              </a:defRPr>
            </a:pPr>
            <a:r>
              <a:rPr sz="2602" b="1" kern="0">
                <a:solidFill>
                  <a:srgbClr val="BE1900"/>
                </a:solidFill>
                <a:uFill>
                  <a:solidFill>
                    <a:srgbClr val="BE1900"/>
                  </a:solidFill>
                </a:uFill>
                <a:latin typeface="Arial"/>
                <a:cs typeface="Arial"/>
                <a:sym typeface="Arial"/>
              </a:rPr>
              <a:t>BUT UNFORTUNATELY, ALL TOO OFTEN!</a:t>
            </a:r>
            <a:br>
              <a:rPr sz="2602" b="1" kern="0">
                <a:solidFill>
                  <a:srgbClr val="BE1900"/>
                </a:solidFill>
                <a:uFill>
                  <a:solidFill>
                    <a:srgbClr val="BE1900"/>
                  </a:solidFill>
                </a:uFill>
                <a:latin typeface="Arial"/>
                <a:cs typeface="Arial"/>
                <a:sym typeface="Arial"/>
              </a:rPr>
            </a:br>
            <a:r>
              <a:rPr sz="1899" b="1" kern="0">
                <a:solidFill>
                  <a:srgbClr val="000000"/>
                </a:solidFill>
                <a:uFill>
                  <a:solidFill>
                    <a:srgbClr val="929292"/>
                  </a:solidFill>
                </a:uFill>
                <a:latin typeface="Arial"/>
                <a:cs typeface="Arial"/>
                <a:sym typeface="Arial"/>
              </a:rPr>
              <a:t>Homogeneity</a:t>
            </a:r>
          </a:p>
        </p:txBody>
      </p:sp>
      <p:pic>
        <p:nvPicPr>
          <p:cNvPr id="770"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71" name="Shape 771"/>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1136350568"/>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6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768">
                                            <p:txEl>
                                              <p:pRg st="0" end="0"/>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iterate>
                                    <p:tmAbs val="0"/>
                                  </p:iterate>
                                  <p:childTnLst>
                                    <p:set>
                                      <p:cBhvr>
                                        <p:cTn id="13" fill="hold"/>
                                        <p:tgtEl>
                                          <p:spTgt spid="768">
                                            <p:txEl>
                                              <p:pRg st="1" end="1"/>
                                            </p:txEl>
                                          </p:spTgt>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iterate>
                                    <p:tmAbs val="0"/>
                                  </p:iterate>
                                  <p:childTnLst>
                                    <p:set>
                                      <p:cBhvr>
                                        <p:cTn id="16" fill="hold"/>
                                        <p:tgtEl>
                                          <p:spTgt spid="768">
                                            <p:txEl>
                                              <p:pRg st="2" end="2"/>
                                            </p:txEl>
                                          </p:spTgt>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768">
                                            <p:txEl>
                                              <p:pRg st="3" end="3"/>
                                            </p:txEl>
                                          </p:spTgt>
                                        </p:tgtEl>
                                        <p:attrNameLst>
                                          <p:attrName>style.visibility</p:attrName>
                                        </p:attrNameLst>
                                      </p:cBhvr>
                                      <p:to>
                                        <p:strVal val="visible"/>
                                      </p:to>
                                    </p:set>
                                  </p:childTnLst>
                                </p:cTn>
                              </p:par>
                              <p:par>
                                <p:cTn id="20" presetID="1" presetClass="entr" presetSubtype="0" fill="hold" grpId="0" nodeType="withEffect">
                                  <p:stCondLst>
                                    <p:cond delay="0"/>
                                  </p:stCondLst>
                                  <p:iterate>
                                    <p:tmAbs val="0"/>
                                  </p:iterate>
                                  <p:childTnLst>
                                    <p:set>
                                      <p:cBhvr>
                                        <p:cTn id="21" fill="hold"/>
                                        <p:tgtEl>
                                          <p:spTgt spid="768">
                                            <p:txEl>
                                              <p:pRg st="4" end="4"/>
                                            </p:txEl>
                                          </p:spTgt>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iterate>
                                    <p:tmAbs val="0"/>
                                  </p:iterate>
                                  <p:childTnLst>
                                    <p:set>
                                      <p:cBhvr>
                                        <p:cTn id="24" fill="hold"/>
                                        <p:tgtEl>
                                          <p:spTgt spid="768">
                                            <p:txEl>
                                              <p:pRg st="5" end="5"/>
                                            </p:txEl>
                                          </p:spTgt>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iterate>
                                    <p:tmAbs val="0"/>
                                  </p:iterate>
                                  <p:childTnLst>
                                    <p:set>
                                      <p:cBhvr>
                                        <p:cTn id="27" fill="hold"/>
                                        <p:tgtEl>
                                          <p:spTgt spid="76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 grpId="0" build="p" bldLvl="5" animBg="1" advAuto="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73" name="Shape 773"/>
          <p:cNvSpPr/>
          <p:nvPr/>
        </p:nvSpPr>
        <p:spPr>
          <a:xfrm>
            <a:off x="2208106" y="457306"/>
            <a:ext cx="8256912" cy="779316"/>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39697" algn="r" defTabSz="914628" hangingPunct="0">
              <a:buClr>
                <a:srgbClr val="549664"/>
              </a:buClr>
              <a:defRPr sz="4200">
                <a:solidFill>
                  <a:srgbClr val="BE1900"/>
                </a:solidFill>
                <a:uFill>
                  <a:solidFill>
                    <a:srgbClr val="BE1900"/>
                  </a:solidFill>
                </a:uFill>
                <a:latin typeface="FlamaSemicondensed-Basic"/>
                <a:ea typeface="FlamaSemicondensed-Basic"/>
                <a:cs typeface="FlamaSemicondensed-Basic"/>
                <a:sym typeface="FlamaSemicondensed-Basic"/>
              </a:defRPr>
            </a:pPr>
            <a:r>
              <a:rPr sz="2954" kern="0">
                <a:solidFill>
                  <a:srgbClr val="BE1900"/>
                </a:solidFill>
                <a:uFill>
                  <a:solidFill>
                    <a:srgbClr val="BE1900"/>
                  </a:solidFill>
                </a:uFill>
                <a:latin typeface="FlamaSemicondensed-Basic"/>
                <a:sym typeface="FlamaSemicondensed-Basic"/>
              </a:rPr>
              <a:t>FIVE LEVELS OF DIVERSITY</a:t>
            </a:r>
          </a:p>
          <a:p>
            <a:pPr marL="39697" algn="r" defTabSz="914628" hangingPunct="0">
              <a:buClr>
                <a:srgbClr val="000000"/>
              </a:buClr>
              <a:defRPr sz="3000">
                <a:uFill>
                  <a:solidFill>
                    <a:srgbClr val="000000"/>
                  </a:solidFill>
                </a:uFill>
                <a:latin typeface="FlamaSemicondensed-Medium"/>
                <a:ea typeface="FlamaSemicondensed-Medium"/>
                <a:cs typeface="FlamaSemicondensed-Medium"/>
                <a:sym typeface="FlamaSemicondensed-Medium"/>
              </a:defRPr>
            </a:pPr>
            <a:r>
              <a:rPr sz="2110" kern="0">
                <a:solidFill>
                  <a:srgbClr val="000000"/>
                </a:solidFill>
                <a:uFill>
                  <a:solidFill>
                    <a:srgbClr val="000000"/>
                  </a:solidFill>
                </a:uFill>
                <a:latin typeface="FlamaSemicondensed-Medium"/>
                <a:sym typeface="FlamaSemicondensed-Medium"/>
              </a:rPr>
              <a:t>Diversity impacts innovation capacity at each level</a:t>
            </a:r>
          </a:p>
        </p:txBody>
      </p:sp>
      <p:sp>
        <p:nvSpPr>
          <p:cNvPr id="774" name="Shape 774"/>
          <p:cNvSpPr/>
          <p:nvPr/>
        </p:nvSpPr>
        <p:spPr>
          <a:xfrm>
            <a:off x="5404484"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grpSp>
        <p:nvGrpSpPr>
          <p:cNvPr id="807" name="Group 807"/>
          <p:cNvGrpSpPr/>
          <p:nvPr/>
        </p:nvGrpSpPr>
        <p:grpSpPr>
          <a:xfrm>
            <a:off x="-2367368" y="1053649"/>
            <a:ext cx="13846916" cy="10901360"/>
            <a:chOff x="0" y="-143317"/>
            <a:chExt cx="19688832" cy="15500567"/>
          </a:xfrm>
        </p:grpSpPr>
        <p:sp>
          <p:nvSpPr>
            <p:cNvPr id="775" name="Shape 775"/>
            <p:cNvSpPr/>
            <p:nvPr/>
          </p:nvSpPr>
          <p:spPr>
            <a:xfrm>
              <a:off x="0" y="14995986"/>
              <a:ext cx="19688833" cy="361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t">
              <a:noAutofit/>
            </a:bodyPr>
            <a:lstStyle>
              <a:lvl1pPr marL="57799" marR="57799" defTabSz="1295400">
                <a:defRPr sz="800">
                  <a:solidFill>
                    <a:srgbClr val="BE1900"/>
                  </a:solidFill>
                  <a:uFill>
                    <a:solidFill>
                      <a:srgbClr val="000000"/>
                    </a:solidFill>
                  </a:uFill>
                  <a:latin typeface="Flama Semicondensed"/>
                  <a:ea typeface="Flama Semicondensed"/>
                  <a:cs typeface="Flama Semicondensed"/>
                  <a:sym typeface="Flama Semicondensed"/>
                </a:defRPr>
              </a:lvl1pPr>
            </a:lstStyle>
            <a:p>
              <a:pPr marL="40650" marR="40650" algn="ctr" defTabSz="911055" hangingPunct="0"/>
              <a:r>
                <a:rPr sz="563" kern="0"/>
                <a:t>2014 © INNOVERSITY COPENHAGEN</a:t>
              </a:r>
            </a:p>
          </p:txBody>
        </p:sp>
        <p:grpSp>
          <p:nvGrpSpPr>
            <p:cNvPr id="789" name="Group 789"/>
            <p:cNvGrpSpPr/>
            <p:nvPr/>
          </p:nvGrpSpPr>
          <p:grpSpPr>
            <a:xfrm>
              <a:off x="4112795" y="-143318"/>
              <a:ext cx="11463243" cy="15120185"/>
              <a:chOff x="-10142" y="-16433"/>
              <a:chExt cx="11463242" cy="15120184"/>
            </a:xfrm>
          </p:grpSpPr>
          <p:pic>
            <p:nvPicPr>
              <p:cNvPr id="776" name="Billede 775"/>
              <p:cNvPicPr>
                <a:picLocks/>
              </p:cNvPicPr>
              <p:nvPr/>
            </p:nvPicPr>
            <p:blipFill>
              <a:blip r:embed="rId3">
                <a:extLst/>
              </a:blip>
              <a:stretch>
                <a:fillRect/>
              </a:stretch>
            </p:blipFill>
            <p:spPr>
              <a:xfrm>
                <a:off x="-10143" y="-16434"/>
                <a:ext cx="11463244" cy="15120185"/>
              </a:xfrm>
              <a:prstGeom prst="rect">
                <a:avLst/>
              </a:prstGeom>
              <a:effectLst/>
            </p:spPr>
          </p:pic>
          <p:pic>
            <p:nvPicPr>
              <p:cNvPr id="778" name="Billede 777"/>
              <p:cNvPicPr>
                <a:picLocks/>
              </p:cNvPicPr>
              <p:nvPr/>
            </p:nvPicPr>
            <p:blipFill>
              <a:blip r:embed="rId4">
                <a:extLst/>
              </a:blip>
              <a:stretch>
                <a:fillRect/>
              </a:stretch>
            </p:blipFill>
            <p:spPr>
              <a:xfrm>
                <a:off x="4054268" y="4194499"/>
                <a:ext cx="3456590" cy="101601"/>
              </a:xfrm>
              <a:prstGeom prst="rect">
                <a:avLst/>
              </a:prstGeom>
              <a:effectLst/>
            </p:spPr>
          </p:pic>
          <p:pic>
            <p:nvPicPr>
              <p:cNvPr id="780" name="Billede 779"/>
              <p:cNvPicPr>
                <a:picLocks/>
              </p:cNvPicPr>
              <p:nvPr/>
            </p:nvPicPr>
            <p:blipFill>
              <a:blip r:embed="rId5">
                <a:extLst/>
              </a:blip>
              <a:stretch>
                <a:fillRect/>
              </a:stretch>
            </p:blipFill>
            <p:spPr>
              <a:xfrm>
                <a:off x="3325843" y="5497574"/>
                <a:ext cx="4701111" cy="101601"/>
              </a:xfrm>
              <a:prstGeom prst="rect">
                <a:avLst/>
              </a:prstGeom>
              <a:effectLst/>
            </p:spPr>
          </p:pic>
          <p:pic>
            <p:nvPicPr>
              <p:cNvPr id="782" name="Billede 781"/>
              <p:cNvPicPr>
                <a:picLocks/>
              </p:cNvPicPr>
              <p:nvPr/>
            </p:nvPicPr>
            <p:blipFill>
              <a:blip r:embed="rId6">
                <a:extLst/>
              </a:blip>
              <a:stretch>
                <a:fillRect/>
              </a:stretch>
            </p:blipFill>
            <p:spPr>
              <a:xfrm>
                <a:off x="1430021" y="10835834"/>
                <a:ext cx="8582916" cy="101601"/>
              </a:xfrm>
              <a:prstGeom prst="rect">
                <a:avLst/>
              </a:prstGeom>
              <a:effectLst/>
            </p:spPr>
          </p:pic>
          <p:pic>
            <p:nvPicPr>
              <p:cNvPr id="784" name="Billede 783"/>
              <p:cNvPicPr>
                <a:picLocks/>
              </p:cNvPicPr>
              <p:nvPr/>
            </p:nvPicPr>
            <p:blipFill>
              <a:blip r:embed="rId7">
                <a:extLst/>
              </a:blip>
              <a:stretch>
                <a:fillRect/>
              </a:stretch>
            </p:blipFill>
            <p:spPr>
              <a:xfrm>
                <a:off x="730783" y="12143129"/>
                <a:ext cx="9739253" cy="101601"/>
              </a:xfrm>
              <a:prstGeom prst="rect">
                <a:avLst/>
              </a:prstGeom>
              <a:effectLst/>
            </p:spPr>
          </p:pic>
          <p:sp>
            <p:nvSpPr>
              <p:cNvPr id="786" name="Shape 786"/>
              <p:cNvSpPr/>
              <p:nvPr/>
            </p:nvSpPr>
            <p:spPr>
              <a:xfrm>
                <a:off x="4457095" y="1480690"/>
                <a:ext cx="2528767" cy="154661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p>
                <a:pPr algn="ctr" defTabSz="321549" hangingPunct="0">
                  <a:defRPr sz="2200">
                    <a:latin typeface="Flama Semicondensed"/>
                    <a:ea typeface="Flama Semicondensed"/>
                    <a:cs typeface="Flama Semicondensed"/>
                    <a:sym typeface="Flama Semicondensed"/>
                  </a:defRPr>
                </a:pPr>
                <a:r>
                  <a:rPr sz="1547" kern="0">
                    <a:solidFill>
                      <a:srgbClr val="000000"/>
                    </a:solidFill>
                    <a:latin typeface="Flama Semicondensed"/>
                    <a:sym typeface="Flama Semicondensed"/>
                  </a:rPr>
                  <a:t>Individual</a:t>
                </a:r>
              </a:p>
              <a:p>
                <a:pPr algn="ctr" defTabSz="321549" hangingPunct="0">
                  <a:defRPr sz="2200">
                    <a:latin typeface="Flama Semicondensed"/>
                    <a:ea typeface="Flama Semicondensed"/>
                    <a:cs typeface="Flama Semicondensed"/>
                    <a:sym typeface="Flama Semicondensed"/>
                  </a:defRPr>
                </a:pPr>
                <a:r>
                  <a:rPr sz="1547" kern="0">
                    <a:solidFill>
                      <a:srgbClr val="000000"/>
                    </a:solidFill>
                    <a:latin typeface="Flama Semicondensed"/>
                    <a:sym typeface="Flama Semicondensed"/>
                  </a:rPr>
                  <a:t>diversity</a:t>
                </a:r>
              </a:p>
            </p:txBody>
          </p:sp>
          <p:sp>
            <p:nvSpPr>
              <p:cNvPr id="787" name="Shape 787"/>
              <p:cNvSpPr/>
              <p:nvPr/>
            </p:nvSpPr>
            <p:spPr>
              <a:xfrm>
                <a:off x="3382233" y="3110678"/>
                <a:ext cx="4678491" cy="111335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Advisory network</a:t>
                </a:r>
              </a:p>
            </p:txBody>
          </p:sp>
          <p:sp>
            <p:nvSpPr>
              <p:cNvPr id="788" name="Shape 788"/>
              <p:cNvSpPr/>
              <p:nvPr/>
            </p:nvSpPr>
            <p:spPr>
              <a:xfrm>
                <a:off x="1941492" y="5788613"/>
                <a:ext cx="7559973" cy="87308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Organisational diversity</a:t>
                </a:r>
              </a:p>
            </p:txBody>
          </p:sp>
        </p:grpSp>
        <p:pic>
          <p:nvPicPr>
            <p:cNvPr id="790" name="Billede 789"/>
            <p:cNvPicPr>
              <a:picLocks/>
            </p:cNvPicPr>
            <p:nvPr/>
          </p:nvPicPr>
          <p:blipFill>
            <a:blip r:embed="rId8">
              <a:extLst/>
            </a:blip>
            <a:stretch>
              <a:fillRect/>
            </a:stretch>
          </p:blipFill>
          <p:spPr>
            <a:xfrm>
              <a:off x="8671656" y="2751078"/>
              <a:ext cx="2209956" cy="101601"/>
            </a:xfrm>
            <a:prstGeom prst="rect">
              <a:avLst/>
            </a:prstGeom>
            <a:effectLst/>
          </p:spPr>
        </p:pic>
        <p:sp>
          <p:nvSpPr>
            <p:cNvPr id="792" name="Shape 792"/>
            <p:cNvSpPr/>
            <p:nvPr/>
          </p:nvSpPr>
          <p:spPr>
            <a:xfrm>
              <a:off x="5738059" y="4371804"/>
              <a:ext cx="8077151"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Group diversity</a:t>
              </a:r>
            </a:p>
          </p:txBody>
        </p:sp>
        <p:pic>
          <p:nvPicPr>
            <p:cNvPr id="793" name="Billede 792"/>
            <p:cNvPicPr>
              <a:picLocks/>
            </p:cNvPicPr>
            <p:nvPr/>
          </p:nvPicPr>
          <p:blipFill>
            <a:blip r:embed="rId9">
              <a:extLst/>
            </a:blip>
            <a:stretch>
              <a:fillRect/>
            </a:stretch>
          </p:blipFill>
          <p:spPr>
            <a:xfrm>
              <a:off x="6788134" y="6532152"/>
              <a:ext cx="5820960" cy="101601"/>
            </a:xfrm>
            <a:prstGeom prst="rect">
              <a:avLst/>
            </a:prstGeom>
            <a:effectLst/>
          </p:spPr>
        </p:pic>
        <p:sp>
          <p:nvSpPr>
            <p:cNvPr id="795" name="Shape 795"/>
            <p:cNvSpPr/>
            <p:nvPr/>
          </p:nvSpPr>
          <p:spPr>
            <a:xfrm>
              <a:off x="5805840" y="6693791"/>
              <a:ext cx="8077152"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lvl1pPr defTabSz="457200">
                <a:defRPr sz="2600">
                  <a:latin typeface="Flama Semicondensed"/>
                  <a:ea typeface="Flama Semicondensed"/>
                  <a:cs typeface="Flama Semicondensed"/>
                  <a:sym typeface="Flama Semicondensed"/>
                </a:defRPr>
              </a:lvl1pPr>
            </a:lstStyle>
            <a:p>
              <a:pPr algn="ctr" defTabSz="321549" hangingPunct="0"/>
              <a:r>
                <a:rPr sz="1829" kern="0">
                  <a:solidFill>
                    <a:srgbClr val="000000"/>
                  </a:solidFill>
                </a:rPr>
                <a:t>External diversity</a:t>
              </a:r>
            </a:p>
          </p:txBody>
        </p:sp>
        <p:pic>
          <p:nvPicPr>
            <p:cNvPr id="796" name="Billede 795"/>
            <p:cNvPicPr>
              <a:picLocks/>
            </p:cNvPicPr>
            <p:nvPr/>
          </p:nvPicPr>
          <p:blipFill>
            <a:blip r:embed="rId10">
              <a:extLst/>
            </a:blip>
            <a:stretch>
              <a:fillRect/>
            </a:stretch>
          </p:blipFill>
          <p:spPr>
            <a:xfrm>
              <a:off x="6788134" y="7752226"/>
              <a:ext cx="6363756" cy="101601"/>
            </a:xfrm>
            <a:prstGeom prst="rect">
              <a:avLst/>
            </a:prstGeom>
            <a:effectLst/>
          </p:spPr>
        </p:pic>
        <p:pic>
          <p:nvPicPr>
            <p:cNvPr id="798" name="Billede 797"/>
            <p:cNvPicPr>
              <a:picLocks/>
            </p:cNvPicPr>
            <p:nvPr/>
          </p:nvPicPr>
          <p:blipFill>
            <a:blip r:embed="rId11">
              <a:extLst/>
            </a:blip>
            <a:stretch>
              <a:fillRect/>
            </a:stretch>
          </p:blipFill>
          <p:spPr>
            <a:xfrm>
              <a:off x="6243424" y="9233797"/>
              <a:ext cx="7066421" cy="101601"/>
            </a:xfrm>
            <a:prstGeom prst="rect">
              <a:avLst/>
            </a:prstGeom>
            <a:effectLst/>
          </p:spPr>
        </p:pic>
        <p:sp>
          <p:nvSpPr>
            <p:cNvPr id="800" name="Shape 800"/>
            <p:cNvSpPr/>
            <p:nvPr/>
          </p:nvSpPr>
          <p:spPr>
            <a:xfrm>
              <a:off x="5805840" y="8017171"/>
              <a:ext cx="8077152"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whole compan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Across national sites, units and departments</a:t>
              </a:r>
            </a:p>
          </p:txBody>
        </p:sp>
        <p:sp>
          <p:nvSpPr>
            <p:cNvPr id="801" name="Shape 801"/>
            <p:cNvSpPr/>
            <p:nvPr/>
          </p:nvSpPr>
          <p:spPr>
            <a:xfrm>
              <a:off x="5738059" y="9619206"/>
              <a:ext cx="8077151"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External diversity </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Customers  &amp; stakeholders</a:t>
              </a:r>
            </a:p>
          </p:txBody>
        </p:sp>
        <p:sp>
          <p:nvSpPr>
            <p:cNvPr id="802" name="Shape 802"/>
            <p:cNvSpPr/>
            <p:nvPr/>
          </p:nvSpPr>
          <p:spPr>
            <a:xfrm>
              <a:off x="5738059" y="10942587"/>
              <a:ext cx="8077151"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cit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Your local and regional area</a:t>
              </a:r>
            </a:p>
          </p:txBody>
        </p:sp>
        <p:sp>
          <p:nvSpPr>
            <p:cNvPr id="803" name="Shape 803"/>
            <p:cNvSpPr/>
            <p:nvPr/>
          </p:nvSpPr>
          <p:spPr>
            <a:xfrm>
              <a:off x="5738059" y="12325791"/>
              <a:ext cx="8077151"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country </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The national level</a:t>
              </a:r>
            </a:p>
          </p:txBody>
        </p:sp>
        <p:pic>
          <p:nvPicPr>
            <p:cNvPr id="804" name="Billede 803"/>
            <p:cNvPicPr>
              <a:picLocks/>
            </p:cNvPicPr>
            <p:nvPr/>
          </p:nvPicPr>
          <p:blipFill>
            <a:blip r:embed="rId12">
              <a:extLst/>
            </a:blip>
            <a:stretch>
              <a:fillRect/>
            </a:stretch>
          </p:blipFill>
          <p:spPr>
            <a:xfrm>
              <a:off x="4149881" y="13433001"/>
              <a:ext cx="11389071" cy="101601"/>
            </a:xfrm>
            <a:prstGeom prst="rect">
              <a:avLst/>
            </a:prstGeom>
            <a:effectLst/>
          </p:spPr>
        </p:pic>
        <p:sp>
          <p:nvSpPr>
            <p:cNvPr id="806" name="Shape 806"/>
            <p:cNvSpPr/>
            <p:nvPr/>
          </p:nvSpPr>
          <p:spPr>
            <a:xfrm>
              <a:off x="5738059" y="13708994"/>
              <a:ext cx="8077151" cy="9328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Globall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The international level</a:t>
              </a:r>
            </a:p>
          </p:txBody>
        </p:sp>
      </p:grpSp>
      <p:sp>
        <p:nvSpPr>
          <p:cNvPr id="808" name="Shape 808"/>
          <p:cNvSpPr/>
          <p:nvPr/>
        </p:nvSpPr>
        <p:spPr>
          <a:xfrm rot="8940000">
            <a:off x="6226898" y="3024970"/>
            <a:ext cx="2354381" cy="1641962"/>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16200" y="5400"/>
                </a:lnTo>
                <a:lnTo>
                  <a:pt x="3375" y="5400"/>
                </a:lnTo>
                <a:lnTo>
                  <a:pt x="3375" y="16200"/>
                </a:lnTo>
                <a:lnTo>
                  <a:pt x="16200" y="16200"/>
                </a:lnTo>
                <a:lnTo>
                  <a:pt x="16200" y="21600"/>
                </a:lnTo>
                <a:lnTo>
                  <a:pt x="21600" y="10800"/>
                </a:lnTo>
                <a:close/>
                <a:moveTo>
                  <a:pt x="1350" y="5400"/>
                </a:moveTo>
                <a:lnTo>
                  <a:pt x="1350" y="16200"/>
                </a:lnTo>
                <a:lnTo>
                  <a:pt x="2700" y="16200"/>
                </a:lnTo>
                <a:lnTo>
                  <a:pt x="2700" y="5400"/>
                </a:lnTo>
                <a:close/>
                <a:moveTo>
                  <a:pt x="0" y="5400"/>
                </a:moveTo>
                <a:lnTo>
                  <a:pt x="0" y="16200"/>
                </a:lnTo>
                <a:lnTo>
                  <a:pt x="675" y="16200"/>
                </a:lnTo>
                <a:lnTo>
                  <a:pt x="675" y="5400"/>
                </a:lnTo>
                <a:close/>
              </a:path>
            </a:pathLst>
          </a:custGeom>
          <a:solidFill>
            <a:schemeClr val="accent5"/>
          </a:solidFill>
          <a:ln w="12700">
            <a:solidFill>
              <a:srgbClr val="000000"/>
            </a:solidFill>
          </a:ln>
        </p:spPr>
        <p:txBody>
          <a:bodyPr lIns="35727" tIns="35727" rIns="35727" bIns="35727" anchor="ct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809" name="Shape 809"/>
          <p:cNvSpPr/>
          <p:nvPr/>
        </p:nvSpPr>
        <p:spPr>
          <a:xfrm flipV="1">
            <a:off x="4523346" y="1196793"/>
            <a:ext cx="1" cy="5634950"/>
          </a:xfrm>
          <a:prstGeom prst="line">
            <a:avLst/>
          </a:prstGeom>
          <a:ln w="50800">
            <a:solidFill>
              <a:srgbClr val="BF3624"/>
            </a:solidFill>
            <a:prstDash val="sysDot"/>
            <a:miter lim="400000"/>
          </a:ln>
        </p:spPr>
        <p:txBody>
          <a:bodyPr lIns="35727" tIns="35727" rIns="35727" bIns="35727" anchor="ctr"/>
          <a:lstStyle/>
          <a:p>
            <a:pPr algn="ctr" defTabSz="410868" hangingPunct="0">
              <a:defRPr sz="2400"/>
            </a:pPr>
            <a:endParaRPr sz="1688" kern="0">
              <a:solidFill>
                <a:srgbClr val="000000"/>
              </a:solidFill>
              <a:latin typeface="Helvetica Light"/>
              <a:sym typeface="Helvetica Light"/>
            </a:endParaRPr>
          </a:p>
        </p:txBody>
      </p:sp>
      <p:sp>
        <p:nvSpPr>
          <p:cNvPr id="810" name="Shape 810"/>
          <p:cNvSpPr/>
          <p:nvPr/>
        </p:nvSpPr>
        <p:spPr>
          <a:xfrm>
            <a:off x="1595593" y="1991833"/>
            <a:ext cx="1790572" cy="894813"/>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nchor="ctr">
            <a:spAutoFit/>
          </a:bodyPr>
          <a:lstStyle/>
          <a:p>
            <a:pPr algn="ctr" defTabSz="410868" hangingPunct="0">
              <a:defRPr sz="3800">
                <a:latin typeface="FlamaSemicondensed-Basic"/>
                <a:ea typeface="FlamaSemicondensed-Basic"/>
                <a:cs typeface="FlamaSemicondensed-Basic"/>
                <a:sym typeface="FlamaSemicondensed-Basic"/>
              </a:defRPr>
            </a:pPr>
            <a:r>
              <a:rPr sz="2673" kern="0">
                <a:solidFill>
                  <a:srgbClr val="000000"/>
                </a:solidFill>
                <a:latin typeface="FlamaSemicondensed-Basic"/>
                <a:sym typeface="FlamaSemicondensed-Basic"/>
              </a:rPr>
              <a:t>Availability </a:t>
            </a:r>
            <a:br>
              <a:rPr sz="2673" kern="0">
                <a:solidFill>
                  <a:srgbClr val="000000"/>
                </a:solidFill>
                <a:latin typeface="FlamaSemicondensed-Basic"/>
                <a:sym typeface="FlamaSemicondensed-Basic"/>
              </a:rPr>
            </a:br>
            <a:r>
              <a:rPr sz="2673" kern="0">
                <a:solidFill>
                  <a:srgbClr val="000000"/>
                </a:solidFill>
                <a:latin typeface="FlamaSemicondensed-Basic"/>
                <a:sym typeface="FlamaSemicondensed-Basic"/>
              </a:rPr>
              <a:t>≠ Use</a:t>
            </a:r>
          </a:p>
        </p:txBody>
      </p:sp>
    </p:spTree>
    <p:extLst>
      <p:ext uri="{BB962C8B-B14F-4D97-AF65-F5344CB8AC3E}">
        <p14:creationId xmlns:p14="http://schemas.microsoft.com/office/powerpoint/2010/main" val="2026880421"/>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0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iterate>
                                    <p:tmAbs val="0"/>
                                  </p:iterate>
                                  <p:childTnLst>
                                    <p:set>
                                      <p:cBhvr>
                                        <p:cTn id="13" fill="hold"/>
                                        <p:tgtEl>
                                          <p:spTgt spid="808"/>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35" presetClass="emph" presetSubtype="0" repeatCount="7000" fill="hold" grpId="1" nodeType="clickEffect">
                                  <p:stCondLst>
                                    <p:cond delay="0"/>
                                  </p:stCondLst>
                                  <p:childTnLst>
                                    <p:anim calcmode="discrete" valueType="str">
                                      <p:cBhvr>
                                        <p:cTn id="17" dur="1000" fill="hold"/>
                                        <p:tgtEl>
                                          <p:spTgt spid="808"/>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8" grpId="0" animBg="1" advAuto="0"/>
      <p:bldP spid="808" grpId="1" animBg="1" advAuto="0"/>
      <p:bldP spid="809" grpId="0" animBg="1" advAuto="0"/>
      <p:bldP spid="810" grpId="0" animBg="1"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Shape 814"/>
          <p:cNvSpPr>
            <a:spLocks noGrp="1"/>
          </p:cNvSpPr>
          <p:nvPr>
            <p:ph type="sldNum" sz="quarter" idx="2"/>
          </p:nvPr>
        </p:nvSpPr>
        <p:spPr>
          <a:xfrm>
            <a:off x="8374610" y="4397117"/>
            <a:ext cx="400751" cy="297389"/>
          </a:xfrm>
          <a:prstGeom prst="rect">
            <a:avLst/>
          </a:prstGeom>
          <a:extLst>
            <a:ext uri="{C572A759-6A51-4108-AA02-DFA0A04FC94B}">
              <ma14:wrappingTextBoxFlag xmlns="" xmlns:ma14="http://schemas.microsoft.com/office/mac/drawingml/2011/main" val="1"/>
            </a:ext>
          </a:extLst>
        </p:spPr>
        <p:txBody>
          <a:bodyPr/>
          <a:lstStyle/>
          <a:p>
            <a:pPr algn="ctr" hangingPunct="0"/>
            <a:fld id="{86CB4B4D-7CA3-9044-876B-883B54F8677D}" type="slidenum">
              <a:rPr kern="0">
                <a:solidFill>
                  <a:srgbClr val="000000"/>
                </a:solidFill>
              </a:rPr>
              <a:pPr algn="ctr" hangingPunct="0"/>
              <a:t>29</a:t>
            </a:fld>
            <a:endParaRPr kern="0">
              <a:solidFill>
                <a:srgbClr val="000000"/>
              </a:solidFill>
            </a:endParaRPr>
          </a:p>
        </p:txBody>
      </p:sp>
      <p:pic>
        <p:nvPicPr>
          <p:cNvPr id="815" name="bobler.jpg"/>
          <p:cNvPicPr>
            <a:picLocks/>
          </p:cNvPicPr>
          <p:nvPr/>
        </p:nvPicPr>
        <p:blipFill>
          <a:blip r:embed="rId2">
            <a:extLst/>
          </a:blip>
          <a:stretch>
            <a:fillRect/>
          </a:stretch>
        </p:blipFill>
        <p:spPr>
          <a:xfrm>
            <a:off x="8186427" y="4188993"/>
            <a:ext cx="2474097" cy="2670595"/>
          </a:xfrm>
          <a:prstGeom prst="rect">
            <a:avLst/>
          </a:prstGeom>
          <a:ln w="12700">
            <a:miter lim="400000"/>
          </a:ln>
        </p:spPr>
      </p:pic>
      <p:sp>
        <p:nvSpPr>
          <p:cNvPr id="816" name="Shape 816"/>
          <p:cNvSpPr>
            <a:spLocks noGrp="1"/>
          </p:cNvSpPr>
          <p:nvPr>
            <p:ph type="body" idx="1"/>
          </p:nvPr>
        </p:nvSpPr>
        <p:spPr>
          <a:xfrm>
            <a:off x="1860873" y="1362375"/>
            <a:ext cx="8426240" cy="5530321"/>
          </a:xfrm>
          <a:prstGeom prst="rect">
            <a:avLst/>
          </a:prstGeom>
        </p:spPr>
        <p:txBody>
          <a:bodyPr/>
          <a:lstStyle/>
          <a:p>
            <a:pPr marL="350131" indent="-321549">
              <a:defRPr sz="2600" b="1">
                <a:uFill>
                  <a:solidFill>
                    <a:srgbClr val="BE1900"/>
                  </a:solidFill>
                </a:uFill>
              </a:defRPr>
            </a:pPr>
            <a:r>
              <a:rPr sz="2400" dirty="0" smtClean="0"/>
              <a:t>A </a:t>
            </a:r>
            <a:r>
              <a:rPr sz="2400" dirty="0"/>
              <a:t>study from ISS in 2011: Non-homogeneous groups (120 / 469) had a 3,7 %-point higher revenue (</a:t>
            </a:r>
            <a:r>
              <a:rPr sz="2400" dirty="0" err="1"/>
              <a:t>succes</a:t>
            </a:r>
            <a:r>
              <a:rPr sz="2400" dirty="0"/>
              <a:t>) than the homogenous teams. </a:t>
            </a:r>
            <a:br>
              <a:rPr sz="2400" dirty="0"/>
            </a:br>
            <a:endParaRPr sz="2400" dirty="0"/>
          </a:p>
          <a:p>
            <a:pPr marL="350131" indent="-321549">
              <a:defRPr sz="2600">
                <a:uFill>
                  <a:solidFill>
                    <a:srgbClr val="BE1900"/>
                  </a:solidFill>
                </a:uFill>
              </a:defRPr>
            </a:pPr>
            <a:r>
              <a:rPr sz="2400" dirty="0"/>
              <a:t>Similar to study by Herring (2009) which documented that a 1% increase in diversity =&gt; 9% increase in revenues</a:t>
            </a:r>
            <a:br>
              <a:rPr sz="2400" dirty="0"/>
            </a:br>
            <a:endParaRPr sz="2400" dirty="0"/>
          </a:p>
          <a:p>
            <a:pPr marL="350131" indent="-321549">
              <a:buClr>
                <a:srgbClr val="BE1900"/>
              </a:buClr>
              <a:defRPr sz="2600">
                <a:uFill>
                  <a:solidFill>
                    <a:srgbClr val="929292"/>
                  </a:solidFill>
                </a:uFill>
              </a:defRPr>
            </a:pPr>
            <a:r>
              <a:rPr sz="2400" dirty="0"/>
              <a:t>A non-homogenous group can be defined as a group of min 5 persons, that abide to the Max 70 % homogeneity-rule, </a:t>
            </a:r>
            <a:r>
              <a:rPr sz="2400" dirty="0" err="1"/>
              <a:t>eg</a:t>
            </a:r>
            <a:r>
              <a:rPr sz="2400" dirty="0"/>
              <a:t>:</a:t>
            </a:r>
          </a:p>
          <a:p>
            <a:pPr marL="993228" lvl="2" indent="-321549">
              <a:lnSpc>
                <a:spcPct val="120000"/>
              </a:lnSpc>
              <a:buClr>
                <a:srgbClr val="BE1900"/>
              </a:buClr>
              <a:defRPr sz="2200">
                <a:uFill>
                  <a:solidFill>
                    <a:srgbClr val="929292"/>
                  </a:solidFill>
                </a:uFill>
              </a:defRPr>
            </a:pPr>
            <a:r>
              <a:rPr sz="2000" dirty="0"/>
              <a:t>Max 70% of team members with same gender</a:t>
            </a:r>
          </a:p>
          <a:p>
            <a:pPr marL="993228" lvl="2" indent="-321549">
              <a:lnSpc>
                <a:spcPct val="120000"/>
              </a:lnSpc>
              <a:buClr>
                <a:srgbClr val="BE1900"/>
              </a:buClr>
              <a:defRPr sz="2200">
                <a:uFill>
                  <a:solidFill>
                    <a:srgbClr val="929292"/>
                  </a:solidFill>
                </a:uFill>
              </a:defRPr>
            </a:pPr>
            <a:r>
              <a:rPr sz="2000" dirty="0"/>
              <a:t>Max 70% of team members with the same nationality</a:t>
            </a:r>
          </a:p>
          <a:p>
            <a:pPr marL="993228" lvl="2" indent="-321549">
              <a:lnSpc>
                <a:spcPct val="120000"/>
              </a:lnSpc>
              <a:buClr>
                <a:srgbClr val="BE1900"/>
              </a:buClr>
              <a:defRPr sz="2200">
                <a:uFill>
                  <a:solidFill>
                    <a:srgbClr val="929292"/>
                  </a:solidFill>
                </a:uFill>
              </a:defRPr>
            </a:pPr>
            <a:r>
              <a:rPr sz="2000" dirty="0"/>
              <a:t>Max 70% of team members with  the same generation</a:t>
            </a:r>
          </a:p>
        </p:txBody>
      </p:sp>
      <p:sp>
        <p:nvSpPr>
          <p:cNvPr id="817" name="Shape 817"/>
          <p:cNvSpPr/>
          <p:nvPr/>
        </p:nvSpPr>
        <p:spPr>
          <a:xfrm>
            <a:off x="2881999" y="209598"/>
            <a:ext cx="7699173" cy="840696"/>
          </a:xfrm>
          <a:prstGeom prst="rect">
            <a:avLst/>
          </a:prstGeom>
          <a:ln w="12700">
            <a:miter lim="400000"/>
          </a:ln>
          <a:extLst>
            <a:ext uri="{C572A759-6A51-4108-AA02-DFA0A04FC94B}">
              <ma14:wrappingTextBoxFlag xmlns="" xmlns:ma14="http://schemas.microsoft.com/office/mac/drawingml/2011/main" val="1"/>
            </a:ext>
          </a:extLst>
        </p:spPr>
        <p:txBody>
          <a:bodyPr lIns="35727" tIns="35727" rIns="35727" bIns="35727">
            <a:spAutoFit/>
          </a:bodyPr>
          <a:lstStyle/>
          <a:p>
            <a:pPr marL="40650" marR="40650" algn="r" defTabSz="911055"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MAX 70% HOMOGENEITY</a:t>
            </a:r>
          </a:p>
          <a:p>
            <a:pPr marL="40650" marR="40650" algn="r" defTabSz="911055" hangingPunct="0">
              <a:buClr>
                <a:srgbClr val="BE1900"/>
              </a:buClr>
              <a:defRPr sz="2900" b="1">
                <a:uFill>
                  <a:solidFill>
                    <a:srgbClr val="929292"/>
                  </a:solidFill>
                </a:uFill>
                <a:latin typeface="Arial"/>
                <a:ea typeface="Arial"/>
                <a:cs typeface="Arial"/>
                <a:sym typeface="Arial"/>
              </a:defRPr>
            </a:pPr>
            <a:r>
              <a:rPr sz="2040" b="1" kern="0">
                <a:solidFill>
                  <a:srgbClr val="000000"/>
                </a:solidFill>
                <a:uFill>
                  <a:solidFill>
                    <a:srgbClr val="929292"/>
                  </a:solidFill>
                </a:uFill>
                <a:latin typeface="Arial"/>
                <a:cs typeface="Arial"/>
                <a:sym typeface="Arial"/>
              </a:rPr>
              <a:t>When composing groups and teams</a:t>
            </a:r>
          </a:p>
        </p:txBody>
      </p:sp>
      <p:pic>
        <p:nvPicPr>
          <p:cNvPr id="81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819" name="Shape 819"/>
          <p:cNvSpPr/>
          <p:nvPr/>
        </p:nvSpPr>
        <p:spPr>
          <a:xfrm>
            <a:off x="1588253" y="6702488"/>
            <a:ext cx="8971480"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PH</a:t>
            </a:r>
          </a:p>
        </p:txBody>
      </p:sp>
    </p:spTree>
    <p:extLst>
      <p:ext uri="{BB962C8B-B14F-4D97-AF65-F5344CB8AC3E}">
        <p14:creationId xmlns:p14="http://schemas.microsoft.com/office/powerpoint/2010/main" val="2985144963"/>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16">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6">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iterate>
                                    <p:tmAbs val="0"/>
                                  </p:iterate>
                                  <p:childTnLst>
                                    <p:set>
                                      <p:cBhvr>
                                        <p:cTn id="13" fill="hold"/>
                                        <p:tgtEl>
                                          <p:spTgt spid="816">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iterate>
                                    <p:tmAbs val="0"/>
                                  </p:iterate>
                                  <p:childTnLst>
                                    <p:set>
                                      <p:cBhvr>
                                        <p:cTn id="17" fill="hold"/>
                                        <p:tgtEl>
                                          <p:spTgt spid="816">
                                            <p:txEl>
                                              <p:pRg st="2" end="2"/>
                                            </p:txEl>
                                          </p:spTgt>
                                        </p:tgtEl>
                                        <p:attrNameLst>
                                          <p:attrName>style.visibility</p:attrName>
                                        </p:attrNameLst>
                                      </p:cBhvr>
                                      <p:to>
                                        <p:strVal val="visible"/>
                                      </p:to>
                                    </p:set>
                                  </p:childTnLst>
                                </p:cTn>
                              </p:par>
                            </p:childTnLst>
                          </p:cTn>
                        </p:par>
                        <p:par>
                          <p:cTn id="18" fill="hold">
                            <p:stCondLst>
                              <p:cond delay="0"/>
                            </p:stCondLst>
                            <p:childTnLst>
                              <p:par>
                                <p:cTn id="19" presetID="1" presetClass="entr" presetSubtype="0" fill="hold" grpId="0" nodeType="afterEffect">
                                  <p:stCondLst>
                                    <p:cond delay="0"/>
                                  </p:stCondLst>
                                  <p:iterate>
                                    <p:tmAbs val="0"/>
                                  </p:iterate>
                                  <p:childTnLst>
                                    <p:set>
                                      <p:cBhvr>
                                        <p:cTn id="20" fill="hold"/>
                                        <p:tgtEl>
                                          <p:spTgt spid="816">
                                            <p:txEl>
                                              <p:pRg st="3" end="3"/>
                                            </p:txEl>
                                          </p:spTgt>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iterate>
                                    <p:tmAbs val="0"/>
                                  </p:iterate>
                                  <p:childTnLst>
                                    <p:set>
                                      <p:cBhvr>
                                        <p:cTn id="23" fill="hold"/>
                                        <p:tgtEl>
                                          <p:spTgt spid="816">
                                            <p:txEl>
                                              <p:pRg st="4" end="4"/>
                                            </p:txEl>
                                          </p:spTgt>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0"/>
                                  </p:stCondLst>
                                  <p:iterate>
                                    <p:tmAbs val="0"/>
                                  </p:iterate>
                                  <p:childTnLst>
                                    <p:set>
                                      <p:cBhvr>
                                        <p:cTn id="26" fill="hold"/>
                                        <p:tgtEl>
                                          <p:spTgt spid="81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6" grpId="0" build="p" bldLvl="5"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 – Aarhus as headquarter</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28-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95154" y="1855357"/>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Odense,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marL="0" indent="0">
              <a:lnSpc>
                <a:spcPct val="100000"/>
              </a:lnSpc>
              <a:buNone/>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a14="http://schemas.microsoft.com/office/drawing/2010/main" xmlns="">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1" name="Shape 821"/>
          <p:cNvSpPr/>
          <p:nvPr/>
        </p:nvSpPr>
        <p:spPr>
          <a:xfrm>
            <a:off x="2807707" y="232645"/>
            <a:ext cx="7708105" cy="66030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40194" marR="40649" algn="r" defTabSz="643098" hangingPunct="0">
              <a:buClr>
                <a:srgbClr val="BE1900"/>
              </a:buClr>
              <a:defRPr sz="3200" b="1">
                <a:solidFill>
                  <a:srgbClr val="BE1900"/>
                </a:solidFill>
                <a:uFill>
                  <a:solidFill>
                    <a:srgbClr val="BE1900"/>
                  </a:solidFill>
                </a:uFill>
                <a:latin typeface="Arial"/>
                <a:ea typeface="Arial"/>
                <a:cs typeface="Arial"/>
                <a:sym typeface="Arial"/>
              </a:defRPr>
            </a:pPr>
            <a:r>
              <a:rPr sz="2251" b="1" kern="0">
                <a:solidFill>
                  <a:srgbClr val="BE1900"/>
                </a:solidFill>
                <a:uFill>
                  <a:solidFill>
                    <a:srgbClr val="BE1900"/>
                  </a:solidFill>
                </a:uFill>
                <a:latin typeface="Arial"/>
                <a:cs typeface="Arial"/>
                <a:sym typeface="Arial"/>
              </a:rPr>
              <a:t>GENDER DIVERSITY LEADS TO BETTER SCIENCE</a:t>
            </a:r>
          </a:p>
          <a:p>
            <a:pPr marL="40194" marR="40649" algn="r" defTabSz="643098" hangingPunct="0">
              <a:buClr>
                <a:srgbClr val="BE1900"/>
              </a:buClr>
              <a:defRPr sz="2900" b="1">
                <a:uFill>
                  <a:solidFill>
                    <a:srgbClr val="BE1900"/>
                  </a:solidFill>
                </a:uFill>
                <a:latin typeface="Arial"/>
                <a:ea typeface="Arial"/>
                <a:cs typeface="Arial"/>
                <a:sym typeface="Arial"/>
              </a:defRPr>
            </a:pPr>
            <a:r>
              <a:rPr sz="2040" b="1" kern="0">
                <a:solidFill>
                  <a:srgbClr val="000000"/>
                </a:solidFill>
                <a:uFill>
                  <a:solidFill>
                    <a:srgbClr val="BE1900"/>
                  </a:solidFill>
                </a:uFill>
                <a:latin typeface="Arial"/>
                <a:cs typeface="Arial"/>
                <a:sym typeface="Arial"/>
              </a:rPr>
              <a:t>Avoid gender homogeneity</a:t>
            </a:r>
          </a:p>
        </p:txBody>
      </p:sp>
      <p:pic>
        <p:nvPicPr>
          <p:cNvPr id="822" name="innoversity_logo_black.ai"/>
          <p:cNvPicPr>
            <a:picLocks noChangeAspect="1"/>
          </p:cNvPicPr>
          <p:nvPr/>
        </p:nvPicPr>
        <p:blipFill>
          <a:blip r:embed="rId3">
            <a:extLst/>
          </a:blip>
          <a:stretch>
            <a:fillRect/>
          </a:stretch>
        </p:blipFill>
        <p:spPr>
          <a:xfrm>
            <a:off x="1696065" y="196590"/>
            <a:ext cx="1333390" cy="217040"/>
          </a:xfrm>
          <a:prstGeom prst="rect">
            <a:avLst/>
          </a:prstGeom>
          <a:ln w="12700"/>
        </p:spPr>
      </p:pic>
      <p:sp>
        <p:nvSpPr>
          <p:cNvPr id="823" name="Shape 823"/>
          <p:cNvSpPr>
            <a:spLocks noGrp="1"/>
          </p:cNvSpPr>
          <p:nvPr>
            <p:ph type="body" idx="1"/>
          </p:nvPr>
        </p:nvSpPr>
        <p:spPr>
          <a:xfrm>
            <a:off x="1309439" y="1632754"/>
            <a:ext cx="8489907" cy="4831524"/>
          </a:xfrm>
          <a:prstGeom prst="rect">
            <a:avLst/>
          </a:prstGeom>
        </p:spPr>
        <p:txBody>
          <a:bodyPr>
            <a:normAutofit fontScale="92500" lnSpcReduction="20000"/>
          </a:bodyPr>
          <a:lstStyle/>
          <a:p>
            <a:pPr marL="308151" marR="81299" lvl="1" indent="-267957">
              <a:lnSpc>
                <a:spcPct val="110000"/>
              </a:lnSpc>
              <a:buClr>
                <a:srgbClr val="929292"/>
              </a:buClr>
              <a:buSzPct val="125000"/>
              <a:buFont typeface="Helvetica"/>
              <a:buChar char="•"/>
              <a:defRPr sz="2700">
                <a:uFill>
                  <a:solidFill>
                    <a:srgbClr val="929292"/>
                  </a:solidFill>
                </a:uFill>
              </a:defRPr>
            </a:pPr>
            <a:r>
              <a:rPr dirty="0"/>
              <a:t>Diversity in research methods applied AND research questions posed =&gt; Higher research QUALITY (</a:t>
            </a:r>
            <a:r>
              <a:rPr dirty="0" err="1"/>
              <a:t>Wullum</a:t>
            </a:r>
            <a:r>
              <a:rPr dirty="0"/>
              <a:t> Nielsen et al, 2018)</a:t>
            </a:r>
            <a:br>
              <a:rPr dirty="0"/>
            </a:br>
            <a:endParaRPr dirty="0"/>
          </a:p>
          <a:p>
            <a:pPr marL="308151" marR="81299" lvl="1" indent="-267957">
              <a:lnSpc>
                <a:spcPct val="110000"/>
              </a:lnSpc>
              <a:buClr>
                <a:srgbClr val="929292"/>
              </a:buClr>
              <a:buSzPct val="125000"/>
              <a:buFont typeface="Helvetica"/>
              <a:buChar char="•"/>
              <a:defRPr sz="2700">
                <a:uFill>
                  <a:solidFill>
                    <a:srgbClr val="929292"/>
                  </a:solidFill>
                </a:uFill>
              </a:defRPr>
            </a:pPr>
            <a:r>
              <a:rPr dirty="0"/>
              <a:t>An analysis of 60 research teams (500 scientists and engineers) documented how women more accurately recognize AND promote the expertise of fellow team members (Joshi, 2014) =&gt; improved DISCOVERY</a:t>
            </a:r>
            <a:br>
              <a:rPr dirty="0"/>
            </a:br>
            <a:endParaRPr dirty="0"/>
          </a:p>
          <a:p>
            <a:pPr marL="308151" marR="81299" lvl="1" indent="-267957">
              <a:lnSpc>
                <a:spcPct val="110000"/>
              </a:lnSpc>
              <a:buClr>
                <a:srgbClr val="929292"/>
              </a:buClr>
              <a:buSzPct val="125000"/>
              <a:buFont typeface="Helvetica"/>
              <a:buChar char="•"/>
              <a:defRPr sz="2700">
                <a:uFill>
                  <a:solidFill>
                    <a:srgbClr val="929292"/>
                  </a:solidFill>
                </a:uFill>
              </a:defRPr>
            </a:pPr>
            <a:r>
              <a:rPr dirty="0"/>
              <a:t>Gender diversity is thus paramount in ensuring </a:t>
            </a:r>
            <a:br>
              <a:rPr dirty="0"/>
            </a:br>
            <a:r>
              <a:rPr dirty="0"/>
              <a:t>that AVAILABLE diversity is also being USED</a:t>
            </a:r>
          </a:p>
        </p:txBody>
      </p:sp>
      <p:pic>
        <p:nvPicPr>
          <p:cNvPr id="824" name="pasted-image.png"/>
          <p:cNvPicPr>
            <a:picLocks noChangeAspect="1"/>
          </p:cNvPicPr>
          <p:nvPr/>
        </p:nvPicPr>
        <p:blipFill>
          <a:blip r:embed="rId4">
            <a:extLst/>
          </a:blip>
          <a:srcRect l="52096" t="23664"/>
          <a:stretch>
            <a:fillRect/>
          </a:stretch>
        </p:blipFill>
        <p:spPr>
          <a:xfrm>
            <a:off x="9186400" y="4174278"/>
            <a:ext cx="3004013" cy="2501187"/>
          </a:xfrm>
          <a:prstGeom prst="rect">
            <a:avLst/>
          </a:prstGeom>
          <a:ln w="12700">
            <a:miter lim="400000"/>
          </a:ln>
        </p:spPr>
      </p:pic>
    </p:spTree>
    <p:extLst>
      <p:ext uri="{BB962C8B-B14F-4D97-AF65-F5344CB8AC3E}">
        <p14:creationId xmlns:p14="http://schemas.microsoft.com/office/powerpoint/2010/main" val="3803983571"/>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23">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23">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823">
                                            <p:txEl>
                                              <p:pRg st="1" end="1"/>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823">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iterate>
                                    <p:tmAbs val="0"/>
                                  </p:iterate>
                                  <p:childTnLst>
                                    <p:set>
                                      <p:cBhvr>
                                        <p:cTn id="19" fill="hold"/>
                                        <p:tgtEl>
                                          <p:spTgt spid="8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3" grpId="0" build="p" bldLvl="5" animBg="1" advAuto="0"/>
      <p:bldP spid="824" grpId="0" animBg="1" advAuto="0"/>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8" name="Shape 828"/>
          <p:cNvSpPr/>
          <p:nvPr/>
        </p:nvSpPr>
        <p:spPr>
          <a:xfrm>
            <a:off x="8879055" y="6252229"/>
            <a:ext cx="309397" cy="266949"/>
          </a:xfrm>
          <a:prstGeom prst="rect">
            <a:avLst/>
          </a:prstGeom>
          <a:ln w="12700">
            <a:miter lim="400000"/>
          </a:ln>
          <a:extLst>
            <a:ext uri="{C572A759-6A51-4108-AA02-DFA0A04FC94B}">
              <ma14:wrappingTextBoxFlag xmlns="" xmlns:ma14="http://schemas.microsoft.com/office/mac/drawingml/2011/main"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7</a:t>
            </a:r>
          </a:p>
        </p:txBody>
      </p:sp>
      <p:pic>
        <p:nvPicPr>
          <p:cNvPr id="829"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830" name="Shape 830"/>
          <p:cNvSpPr>
            <a:spLocks noGrp="1"/>
          </p:cNvSpPr>
          <p:nvPr>
            <p:ph type="body" idx="1"/>
          </p:nvPr>
        </p:nvSpPr>
        <p:spPr>
          <a:xfrm>
            <a:off x="1917378" y="1557475"/>
            <a:ext cx="8217214" cy="4526167"/>
          </a:xfrm>
          <a:prstGeom prst="rect">
            <a:avLst/>
          </a:prstGeom>
        </p:spPr>
        <p:txBody>
          <a:bodyPr/>
          <a:lstStyle/>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gn="ctr">
              <a:lnSpc>
                <a:spcPct val="140000"/>
              </a:lnSpc>
              <a:spcBef>
                <a:spcPts val="422"/>
              </a:spcBef>
              <a:buClr>
                <a:srgbClr val="929292"/>
              </a:buClr>
              <a:buSzTx/>
              <a:buNone/>
              <a:defRPr>
                <a:latin typeface="FlamaSemicondensed-Medium"/>
                <a:ea typeface="FlamaSemicondensed-Medium"/>
                <a:cs typeface="FlamaSemicondensed-Medium"/>
                <a:sym typeface="FlamaSemicondensed-Medium"/>
              </a:defRPr>
            </a:pPr>
            <a:r>
              <a:rPr sz="3517" dirty="0">
                <a:solidFill>
                  <a:srgbClr val="929292"/>
                </a:solidFill>
                <a:uFill>
                  <a:solidFill>
                    <a:srgbClr val="929292"/>
                  </a:solidFill>
                </a:uFill>
              </a:rPr>
              <a:t>ADGANG TIL </a:t>
            </a:r>
            <a:r>
              <a:rPr sz="3517" u="sng" dirty="0">
                <a:solidFill>
                  <a:srgbClr val="929292"/>
                </a:solidFill>
                <a:uFill>
                  <a:solidFill>
                    <a:srgbClr val="929292"/>
                  </a:solidFill>
                </a:uFill>
              </a:rPr>
              <a:t>OG</a:t>
            </a:r>
            <a:r>
              <a:rPr sz="3517" dirty="0">
                <a:solidFill>
                  <a:srgbClr val="929292"/>
                </a:solidFill>
                <a:uFill>
                  <a:solidFill>
                    <a:srgbClr val="929292"/>
                  </a:solidFill>
                </a:uFill>
              </a:rPr>
              <a:t> BRUG AF FLERE VIDENDOMÆNER – </a:t>
            </a:r>
          </a:p>
          <a:p>
            <a:pPr marL="917754" marR="81299" indent="-609603" algn="ctr">
              <a:lnSpc>
                <a:spcPct val="140000"/>
              </a:lnSpc>
              <a:spcBef>
                <a:spcPts val="422"/>
              </a:spcBef>
              <a:buClr>
                <a:srgbClr val="929292"/>
              </a:buClr>
              <a:buSzTx/>
              <a:buNone/>
              <a:defRPr>
                <a:latin typeface="FlamaSemicondensed-Medium"/>
                <a:ea typeface="FlamaSemicondensed-Medium"/>
                <a:cs typeface="FlamaSemicondensed-Medium"/>
                <a:sym typeface="FlamaSemicondensed-Medium"/>
              </a:defRPr>
            </a:pPr>
            <a:r>
              <a:rPr sz="3517" dirty="0">
                <a:solidFill>
                  <a:srgbClr val="BE1900"/>
                </a:solidFill>
                <a:uFill>
                  <a:solidFill>
                    <a:srgbClr val="BE1900"/>
                  </a:solidFill>
                </a:uFill>
              </a:rPr>
              <a:t>SAMTIDIG</a:t>
            </a:r>
          </a:p>
        </p:txBody>
      </p:sp>
      <p:sp>
        <p:nvSpPr>
          <p:cNvPr id="831" name="Shape 831"/>
          <p:cNvSpPr/>
          <p:nvPr/>
        </p:nvSpPr>
        <p:spPr>
          <a:xfrm>
            <a:off x="2745798" y="455520"/>
            <a:ext cx="7708104" cy="36792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marR="57798" algn="r" defTabSz="914400">
              <a:buClr>
                <a:srgbClr val="BE1900"/>
              </a:buClr>
              <a:buFont typeface="Century Gothic"/>
              <a:defRPr sz="3400">
                <a:solidFill>
                  <a:srgbClr val="BE1900"/>
                </a:solidFill>
                <a:uFill>
                  <a:solidFill>
                    <a:srgbClr val="BE1900"/>
                  </a:solidFill>
                </a:uFill>
                <a:latin typeface="FlamaSemicondensed-Medium"/>
                <a:ea typeface="FlamaSemicondensed-Medium"/>
                <a:cs typeface="FlamaSemicondensed-Medium"/>
                <a:sym typeface="FlamaSemicondensed-Medium"/>
              </a:defRPr>
            </a:lvl1pPr>
          </a:lstStyle>
          <a:p>
            <a:pPr marL="40194" marR="40649" defTabSz="643098" hangingPunct="0"/>
            <a:r>
              <a:rPr sz="2391" kern="0"/>
              <a:t>EN VIDENBASERET DEFINITION</a:t>
            </a:r>
          </a:p>
        </p:txBody>
      </p:sp>
      <p:pic>
        <p:nvPicPr>
          <p:cNvPr id="832"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3495113100"/>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34" name="Shape 834"/>
          <p:cNvSpPr>
            <a:spLocks noGrp="1"/>
          </p:cNvSpPr>
          <p:nvPr>
            <p:ph type="sldNum" sz="quarter" idx="2"/>
          </p:nvPr>
        </p:nvSpPr>
        <p:spPr>
          <a:xfrm>
            <a:off x="8862874" y="6252228"/>
            <a:ext cx="333425" cy="254172"/>
          </a:xfrm>
          <a:prstGeom prst="rect">
            <a:avLst/>
          </a:prstGeom>
          <a:extLst>
            <a:ext uri="{C572A759-6A51-4108-AA02-DFA0A04FC94B}">
              <ma14:wrappingTextBoxFlag xmlns="" xmlns:ma14="http://schemas.microsoft.com/office/mac/drawingml/2011/main" val="1"/>
            </a:ext>
          </a:extLst>
        </p:spPr>
        <p:txBody>
          <a:bodyPr/>
          <a:lstStyle>
            <a:lvl1pPr defTabSz="455527"/>
          </a:lstStyle>
          <a:p>
            <a:pPr algn="ctr" hangingPunct="0"/>
            <a:fld id="{86CB4B4D-7CA3-9044-876B-883B54F8677D}" type="slidenum">
              <a:rPr sz="985" kern="0">
                <a:solidFill>
                  <a:srgbClr val="000000"/>
                </a:solidFill>
              </a:rPr>
              <a:pPr algn="ctr" hangingPunct="0"/>
              <a:t>32</a:t>
            </a:fld>
            <a:endParaRPr sz="985" kern="0">
              <a:solidFill>
                <a:srgbClr val="000000"/>
              </a:solidFill>
            </a:endParaRPr>
          </a:p>
        </p:txBody>
      </p:sp>
      <p:pic>
        <p:nvPicPr>
          <p:cNvPr id="835" name="bobler.jpg"/>
          <p:cNvPicPr>
            <a:picLocks/>
          </p:cNvPicPr>
          <p:nvPr/>
        </p:nvPicPr>
        <p:blipFill>
          <a:blip r:embed="rId3">
            <a:extLst/>
          </a:blip>
          <a:stretch>
            <a:fillRect/>
          </a:stretch>
        </p:blipFill>
        <p:spPr>
          <a:xfrm>
            <a:off x="8186427" y="4188993"/>
            <a:ext cx="2474097" cy="2670595"/>
          </a:xfrm>
          <a:prstGeom prst="rect">
            <a:avLst/>
          </a:prstGeom>
          <a:ln w="12700">
            <a:miter lim="400000"/>
          </a:ln>
        </p:spPr>
      </p:pic>
      <p:sp>
        <p:nvSpPr>
          <p:cNvPr id="836" name="Shape 836"/>
          <p:cNvSpPr>
            <a:spLocks noGrp="1"/>
          </p:cNvSpPr>
          <p:nvPr>
            <p:ph type="body" idx="1"/>
          </p:nvPr>
        </p:nvSpPr>
        <p:spPr>
          <a:xfrm>
            <a:off x="4772234" y="1518399"/>
            <a:ext cx="5714542" cy="4903533"/>
          </a:xfrm>
          <a:prstGeom prst="rect">
            <a:avLst/>
          </a:prstGeom>
        </p:spPr>
        <p:txBody>
          <a:bodyPr/>
          <a:lstStyle/>
          <a:p>
            <a:pPr marL="323335" indent="-294753">
              <a:lnSpc>
                <a:spcPct val="120000"/>
              </a:lnSpc>
              <a:buClr>
                <a:srgbClr val="BE1900"/>
              </a:buClr>
              <a:defRPr sz="2600">
                <a:uFill>
                  <a:solidFill>
                    <a:srgbClr val="929292"/>
                  </a:solidFill>
                </a:uFill>
              </a:defRPr>
            </a:pPr>
            <a:r>
              <a:rPr sz="2000" dirty="0" smtClean="0"/>
              <a:t>Large </a:t>
            </a:r>
            <a:r>
              <a:rPr sz="2000" dirty="0"/>
              <a:t>study first published in Nature in 2008 (with Hong)</a:t>
            </a:r>
            <a:br>
              <a:rPr sz="2000" dirty="0"/>
            </a:br>
            <a:endParaRPr sz="2000" dirty="0"/>
          </a:p>
          <a:p>
            <a:pPr marL="323335" indent="-294753">
              <a:lnSpc>
                <a:spcPct val="120000"/>
              </a:lnSpc>
              <a:buClr>
                <a:srgbClr val="BE1900"/>
              </a:buClr>
              <a:defRPr sz="2600">
                <a:uFill>
                  <a:solidFill>
                    <a:srgbClr val="929292"/>
                  </a:solidFill>
                </a:uFill>
              </a:defRPr>
            </a:pPr>
            <a:r>
              <a:rPr sz="2000" dirty="0"/>
              <a:t>Everyone had their IQ measured =&gt; three groups [High performers]; [Medium performers] and [Low performers]</a:t>
            </a:r>
            <a:br>
              <a:rPr sz="2000" dirty="0"/>
            </a:br>
            <a:endParaRPr sz="2000" dirty="0"/>
          </a:p>
          <a:p>
            <a:pPr marL="323335" indent="-294753">
              <a:lnSpc>
                <a:spcPct val="120000"/>
              </a:lnSpc>
              <a:buClr>
                <a:srgbClr val="BE1900"/>
              </a:buClr>
              <a:defRPr sz="2600">
                <a:uFill>
                  <a:solidFill>
                    <a:srgbClr val="929292"/>
                  </a:solidFill>
                </a:uFill>
              </a:defRPr>
            </a:pPr>
            <a:r>
              <a:rPr sz="2000" dirty="0"/>
              <a:t>Asked to solve a complex problem in different groups - competing against each other</a:t>
            </a:r>
            <a:br>
              <a:rPr sz="2000" dirty="0"/>
            </a:br>
            <a:endParaRPr sz="2000" dirty="0"/>
          </a:p>
          <a:p>
            <a:pPr marL="323335" indent="-294753">
              <a:lnSpc>
                <a:spcPct val="120000"/>
              </a:lnSpc>
              <a:buClr>
                <a:srgbClr val="BE1900"/>
              </a:buClr>
              <a:defRPr sz="2600">
                <a:uFill>
                  <a:solidFill>
                    <a:srgbClr val="929292"/>
                  </a:solidFill>
                </a:uFill>
              </a:defRPr>
            </a:pPr>
            <a:r>
              <a:rPr sz="2000" dirty="0"/>
              <a:t>The mixed groups outperformed the high performers EVERY time (50 times), why?</a:t>
            </a:r>
          </a:p>
        </p:txBody>
      </p:sp>
      <p:sp>
        <p:nvSpPr>
          <p:cNvPr id="837" name="Shape 837"/>
          <p:cNvSpPr/>
          <p:nvPr/>
        </p:nvSpPr>
        <p:spPr>
          <a:xfrm>
            <a:off x="2745798" y="455520"/>
            <a:ext cx="7699173" cy="786515"/>
          </a:xfrm>
          <a:prstGeom prst="rect">
            <a:avLst/>
          </a:prstGeom>
          <a:ln w="12700">
            <a:miter lim="400000"/>
          </a:ln>
          <a:extLst>
            <a:ext uri="{C572A759-6A51-4108-AA02-DFA0A04FC94B}">
              <ma14:wrappingTextBoxFlag xmlns="" xmlns:ma14="http://schemas.microsoft.com/office/mac/drawingml/2011/main" val="1"/>
            </a:ext>
          </a:extLst>
        </p:spPr>
        <p:txBody>
          <a:bodyPr lIns="35727" tIns="35727" rIns="35727" bIns="35727">
            <a:spAutoFit/>
          </a:bodyPr>
          <a:lstStyle/>
          <a:p>
            <a:pPr marL="57813" marR="57813" algn="r" defTabSz="1295722" hangingPunct="0">
              <a:buClr>
                <a:srgbClr val="BE1900"/>
              </a:buClr>
              <a:defRPr sz="4100" b="1">
                <a:solidFill>
                  <a:srgbClr val="BE1900"/>
                </a:solidFill>
                <a:uFill>
                  <a:solidFill>
                    <a:srgbClr val="BE1900"/>
                  </a:solidFill>
                </a:uFill>
                <a:latin typeface="Arial"/>
                <a:ea typeface="Arial"/>
                <a:cs typeface="Arial"/>
                <a:sym typeface="Arial"/>
              </a:defRPr>
            </a:pPr>
            <a:r>
              <a:rPr sz="2884" b="1" kern="0">
                <a:solidFill>
                  <a:srgbClr val="BE1900"/>
                </a:solidFill>
                <a:uFill>
                  <a:solidFill>
                    <a:srgbClr val="BE1900"/>
                  </a:solidFill>
                </a:uFill>
                <a:latin typeface="Arial"/>
                <a:cs typeface="Arial"/>
                <a:sym typeface="Arial"/>
              </a:rPr>
              <a:t>DIVERSITY TRIUMPS ABILITY</a:t>
            </a:r>
            <a:endParaRPr sz="2884" b="1" kern="0">
              <a:solidFill>
                <a:srgbClr val="929292"/>
              </a:solidFill>
              <a:uFill>
                <a:solidFill>
                  <a:srgbClr val="929292"/>
                </a:solidFill>
              </a:uFill>
              <a:latin typeface="Arial"/>
              <a:cs typeface="Arial"/>
              <a:sym typeface="Arial"/>
            </a:endParaRPr>
          </a:p>
          <a:p>
            <a:pPr marL="40650" marR="40650" algn="r" defTabSz="914628" hangingPunct="0">
              <a:buClr>
                <a:srgbClr val="BE1900"/>
              </a:buClr>
              <a:defRPr sz="2500" b="1">
                <a:uFill>
                  <a:solidFill>
                    <a:srgbClr val="000000"/>
                  </a:solidFill>
                </a:uFill>
                <a:latin typeface="Arial"/>
                <a:ea typeface="Arial"/>
                <a:cs typeface="Arial"/>
                <a:sym typeface="Arial"/>
              </a:defRPr>
            </a:pPr>
            <a:r>
              <a:rPr sz="1758" b="1" kern="0">
                <a:solidFill>
                  <a:srgbClr val="000000"/>
                </a:solidFill>
                <a:uFill>
                  <a:solidFill>
                    <a:srgbClr val="000000"/>
                  </a:solidFill>
                </a:uFill>
                <a:latin typeface="Arial"/>
                <a:cs typeface="Arial"/>
                <a:sym typeface="Arial"/>
              </a:rPr>
              <a:t>Page, S. (2008, 2017)</a:t>
            </a:r>
          </a:p>
        </p:txBody>
      </p:sp>
      <p:pic>
        <p:nvPicPr>
          <p:cNvPr id="838" name="innoversity_logo_black.ai"/>
          <p:cNvPicPr>
            <a:picLocks noChangeAspect="1"/>
          </p:cNvPicPr>
          <p:nvPr/>
        </p:nvPicPr>
        <p:blipFill>
          <a:blip r:embed="rId4">
            <a:extLst/>
          </a:blip>
          <a:stretch>
            <a:fillRect/>
          </a:stretch>
        </p:blipFill>
        <p:spPr>
          <a:xfrm>
            <a:off x="1696065" y="196589"/>
            <a:ext cx="1799576" cy="292923"/>
          </a:xfrm>
          <a:prstGeom prst="rect">
            <a:avLst/>
          </a:prstGeom>
          <a:ln w="12700"/>
        </p:spPr>
      </p:pic>
      <p:pic>
        <p:nvPicPr>
          <p:cNvPr id="839" name="pasted-image.tif"/>
          <p:cNvPicPr>
            <a:picLocks noChangeAspect="1"/>
          </p:cNvPicPr>
          <p:nvPr/>
        </p:nvPicPr>
        <p:blipFill>
          <a:blip r:embed="rId5">
            <a:extLst/>
          </a:blip>
          <a:stretch>
            <a:fillRect/>
          </a:stretch>
        </p:blipFill>
        <p:spPr>
          <a:xfrm>
            <a:off x="1630325" y="1313203"/>
            <a:ext cx="1930950" cy="2935044"/>
          </a:xfrm>
          <a:prstGeom prst="rect">
            <a:avLst/>
          </a:prstGeom>
          <a:ln w="12700"/>
        </p:spPr>
      </p:pic>
      <p:sp>
        <p:nvSpPr>
          <p:cNvPr id="840" name="Shape 840"/>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pic>
        <p:nvPicPr>
          <p:cNvPr id="841" name="pasted-image.png"/>
          <p:cNvPicPr>
            <a:picLocks noChangeAspect="1"/>
          </p:cNvPicPr>
          <p:nvPr/>
        </p:nvPicPr>
        <p:blipFill>
          <a:blip r:embed="rId6">
            <a:extLst/>
          </a:blip>
          <a:stretch>
            <a:fillRect/>
          </a:stretch>
        </p:blipFill>
        <p:spPr>
          <a:xfrm>
            <a:off x="2555689" y="3599130"/>
            <a:ext cx="1904097" cy="2935045"/>
          </a:xfrm>
          <a:prstGeom prst="rect">
            <a:avLst/>
          </a:prstGeom>
          <a:ln w="12700">
            <a:miter lim="400000"/>
          </a:ln>
        </p:spPr>
      </p:pic>
    </p:spTree>
    <p:extLst>
      <p:ext uri="{BB962C8B-B14F-4D97-AF65-F5344CB8AC3E}">
        <p14:creationId xmlns:p14="http://schemas.microsoft.com/office/powerpoint/2010/main" val="842134687"/>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3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83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83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83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iterate>
                                    <p:tmAbs val="0"/>
                                  </p:iterate>
                                  <p:childTnLst>
                                    <p:set>
                                      <p:cBhvr>
                                        <p:cTn id="22" fill="hold"/>
                                        <p:tgtEl>
                                          <p:spTgt spid="83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6" grpId="0" build="p" bldLvl="5" animBg="1" advAuto="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5" name="image.png"/>
          <p:cNvPicPr>
            <a:picLocks/>
          </p:cNvPicPr>
          <p:nvPr/>
        </p:nvPicPr>
        <p:blipFill>
          <a:blip r:embed="rId2">
            <a:extLst/>
          </a:blip>
          <a:stretch>
            <a:fillRect/>
          </a:stretch>
        </p:blipFill>
        <p:spPr>
          <a:xfrm>
            <a:off x="8186427" y="4188993"/>
            <a:ext cx="2481838" cy="2670595"/>
          </a:xfrm>
          <a:prstGeom prst="rect">
            <a:avLst/>
          </a:prstGeom>
          <a:ln w="12700">
            <a:miter lim="400000"/>
          </a:ln>
        </p:spPr>
      </p:pic>
      <p:sp>
        <p:nvSpPr>
          <p:cNvPr id="846" name="Shape 846"/>
          <p:cNvSpPr>
            <a:spLocks noGrp="1"/>
          </p:cNvSpPr>
          <p:nvPr>
            <p:ph type="body" idx="1"/>
          </p:nvPr>
        </p:nvSpPr>
        <p:spPr>
          <a:xfrm>
            <a:off x="1749908" y="1666467"/>
            <a:ext cx="8690597" cy="4527011"/>
          </a:xfrm>
          <a:prstGeom prst="rect">
            <a:avLst/>
          </a:prstGeom>
        </p:spPr>
        <p:txBody>
          <a:bodyPr/>
          <a:lstStyle/>
          <a:p>
            <a:pPr marL="457314" marR="81300" indent="-428732">
              <a:lnSpc>
                <a:spcPct val="120000"/>
              </a:lnSpc>
              <a:buClr>
                <a:srgbClr val="BE1900"/>
              </a:buClr>
              <a:buSzPct val="127999"/>
              <a:buFont typeface="Helvetica"/>
              <a:defRPr sz="2900"/>
            </a:pPr>
            <a:r>
              <a:rPr sz="2400" dirty="0" smtClean="0">
                <a:uFill>
                  <a:solidFill>
                    <a:srgbClr val="606060"/>
                  </a:solidFill>
                </a:uFill>
              </a:rPr>
              <a:t>If </a:t>
            </a:r>
            <a:r>
              <a:rPr sz="2400" dirty="0">
                <a:uFill>
                  <a:solidFill>
                    <a:srgbClr val="606060"/>
                  </a:solidFill>
                </a:uFill>
              </a:rPr>
              <a:t>you want to ensure research </a:t>
            </a:r>
            <a:r>
              <a:rPr sz="2400" b="1" dirty="0">
                <a:uFill>
                  <a:solidFill>
                    <a:srgbClr val="606060"/>
                  </a:solidFill>
                </a:uFill>
              </a:rPr>
              <a:t>IMPACT</a:t>
            </a:r>
            <a:r>
              <a:rPr sz="2400" dirty="0">
                <a:uFill>
                  <a:solidFill>
                    <a:srgbClr val="606060"/>
                  </a:solidFill>
                </a:uFill>
              </a:rPr>
              <a:t> and </a:t>
            </a:r>
            <a:r>
              <a:rPr sz="2400" b="1" dirty="0">
                <a:uFill>
                  <a:solidFill>
                    <a:srgbClr val="606060"/>
                  </a:solidFill>
                </a:uFill>
              </a:rPr>
              <a:t>QUALITY</a:t>
            </a:r>
            <a:r>
              <a:rPr sz="2400" dirty="0">
                <a:uFill>
                  <a:solidFill>
                    <a:srgbClr val="606060"/>
                  </a:solidFill>
                </a:uFill>
              </a:rPr>
              <a:t>, make sure that your research group is diverse, especially in terms of gender &amp; culture</a:t>
            </a:r>
          </a:p>
          <a:p>
            <a:pPr marL="457314" marR="81300" indent="-428732">
              <a:lnSpc>
                <a:spcPct val="120000"/>
              </a:lnSpc>
              <a:buClr>
                <a:srgbClr val="BE1900"/>
              </a:buClr>
              <a:buSzPct val="127999"/>
              <a:buFont typeface="Helvetica"/>
              <a:defRPr sz="2900"/>
            </a:pPr>
            <a:endParaRPr sz="2400" dirty="0">
              <a:uFill>
                <a:solidFill>
                  <a:srgbClr val="606060"/>
                </a:solidFill>
              </a:uFill>
            </a:endParaRPr>
          </a:p>
          <a:p>
            <a:pPr marL="457314" marR="81300" indent="-428732">
              <a:lnSpc>
                <a:spcPct val="120000"/>
              </a:lnSpc>
              <a:buClr>
                <a:srgbClr val="BE1900"/>
              </a:buClr>
              <a:buSzPct val="127999"/>
              <a:buFont typeface="Helvetica"/>
              <a:defRPr sz="2900"/>
            </a:pPr>
            <a:r>
              <a:rPr sz="2400" dirty="0">
                <a:uFill>
                  <a:solidFill>
                    <a:srgbClr val="606060"/>
                  </a:solidFill>
                </a:uFill>
              </a:rPr>
              <a:t>Remember the Max 70% Homogeneity Rule for group composition in your next research project</a:t>
            </a:r>
          </a:p>
          <a:p>
            <a:pPr marL="457314" marR="81300" indent="-428732">
              <a:lnSpc>
                <a:spcPct val="120000"/>
              </a:lnSpc>
              <a:buClr>
                <a:srgbClr val="BE1900"/>
              </a:buClr>
              <a:buSzPct val="127999"/>
              <a:buFont typeface="Helvetica"/>
              <a:defRPr sz="2900"/>
            </a:pPr>
            <a:endParaRPr sz="2400" dirty="0">
              <a:uFill>
                <a:solidFill>
                  <a:srgbClr val="606060"/>
                </a:solidFill>
              </a:uFill>
            </a:endParaRPr>
          </a:p>
          <a:p>
            <a:pPr marL="457314" marR="81300" indent="-428732">
              <a:lnSpc>
                <a:spcPct val="120000"/>
              </a:lnSpc>
              <a:buClr>
                <a:srgbClr val="BE1900"/>
              </a:buClr>
              <a:buSzPct val="127999"/>
              <a:buFont typeface="Helvetica"/>
              <a:defRPr sz="2900"/>
            </a:pPr>
            <a:r>
              <a:rPr sz="2400" b="1" dirty="0">
                <a:uFill>
                  <a:solidFill>
                    <a:srgbClr val="606060"/>
                  </a:solidFill>
                </a:uFill>
              </a:rPr>
              <a:t>BEWARE:</a:t>
            </a:r>
            <a:r>
              <a:rPr sz="2400" dirty="0">
                <a:uFill>
                  <a:solidFill>
                    <a:srgbClr val="606060"/>
                  </a:solidFill>
                </a:uFill>
              </a:rPr>
              <a:t> Group homogeneity =&gt; reproduction and NOT innovation</a:t>
            </a:r>
            <a:br>
              <a:rPr sz="2400" dirty="0">
                <a:uFill>
                  <a:solidFill>
                    <a:srgbClr val="606060"/>
                  </a:solidFill>
                </a:uFill>
              </a:rPr>
            </a:br>
            <a:r>
              <a:rPr sz="2800" dirty="0">
                <a:uFill>
                  <a:solidFill>
                    <a:srgbClr val="606060"/>
                  </a:solidFill>
                </a:uFill>
              </a:rPr>
              <a:t/>
            </a:r>
            <a:br>
              <a:rPr sz="2800" dirty="0">
                <a:uFill>
                  <a:solidFill>
                    <a:srgbClr val="606060"/>
                  </a:solidFill>
                </a:uFill>
              </a:rPr>
            </a:br>
            <a:endParaRPr sz="2800" dirty="0">
              <a:uFill>
                <a:solidFill>
                  <a:srgbClr val="606060"/>
                </a:solidFill>
              </a:uFill>
            </a:endParaRPr>
          </a:p>
        </p:txBody>
      </p:sp>
      <p:sp>
        <p:nvSpPr>
          <p:cNvPr id="847" name="Shape 847"/>
          <p:cNvSpPr/>
          <p:nvPr/>
        </p:nvSpPr>
        <p:spPr>
          <a:xfrm>
            <a:off x="2745798" y="455520"/>
            <a:ext cx="7699172" cy="6926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39697" marR="40650" algn="r" defTabSz="911055" hangingPunct="0">
              <a:buClr>
                <a:srgbClr val="BE1900"/>
              </a:buClr>
              <a:defRPr sz="3700" b="1">
                <a:solidFill>
                  <a:srgbClr val="BE1900"/>
                </a:solidFill>
                <a:uFill>
                  <a:solidFill>
                    <a:srgbClr val="BE1900"/>
                  </a:solidFill>
                </a:uFill>
                <a:latin typeface="Arial"/>
                <a:ea typeface="Arial"/>
                <a:cs typeface="Arial"/>
                <a:sym typeface="Arial"/>
              </a:defRPr>
            </a:pPr>
            <a:r>
              <a:rPr sz="2743" b="1" kern="0">
                <a:solidFill>
                  <a:srgbClr val="BE1900"/>
                </a:solidFill>
                <a:uFill>
                  <a:solidFill>
                    <a:srgbClr val="BE1900"/>
                  </a:solidFill>
                </a:uFill>
                <a:latin typeface="Arial"/>
                <a:cs typeface="Arial"/>
                <a:sym typeface="Arial"/>
              </a:rPr>
              <a:t>A FEW RECOMMENDATIONS</a:t>
            </a:r>
            <a:br>
              <a:rPr sz="2743" b="1" kern="0">
                <a:solidFill>
                  <a:srgbClr val="BE1900"/>
                </a:solidFill>
                <a:uFill>
                  <a:solidFill>
                    <a:srgbClr val="BE1900"/>
                  </a:solidFill>
                </a:uFill>
                <a:latin typeface="Arial"/>
                <a:cs typeface="Arial"/>
                <a:sym typeface="Arial"/>
              </a:rPr>
            </a:br>
            <a:r>
              <a:rPr sz="1758" b="1" kern="0">
                <a:solidFill>
                  <a:srgbClr val="000000"/>
                </a:solidFill>
                <a:uFill>
                  <a:solidFill>
                    <a:srgbClr val="BE1900"/>
                  </a:solidFill>
                </a:uFill>
                <a:latin typeface="Arial"/>
                <a:cs typeface="Arial"/>
                <a:sym typeface="Arial"/>
              </a:rPr>
              <a:t>When composing your next research group</a:t>
            </a:r>
          </a:p>
        </p:txBody>
      </p:sp>
      <p:pic>
        <p:nvPicPr>
          <p:cNvPr id="84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849" name="Shape 849"/>
          <p:cNvSpPr/>
          <p:nvPr/>
        </p:nvSpPr>
        <p:spPr>
          <a:xfrm>
            <a:off x="1700783" y="6689885"/>
            <a:ext cx="8779915" cy="11913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3243861698"/>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4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84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84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84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6" grpId="0" build="p" bldLvl="5" animBg="1" advAuto="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1" name="image.png"/>
          <p:cNvPicPr>
            <a:picLocks/>
          </p:cNvPicPr>
          <p:nvPr/>
        </p:nvPicPr>
        <p:blipFill>
          <a:blip r:embed="rId2">
            <a:extLst/>
          </a:blip>
          <a:stretch>
            <a:fillRect/>
          </a:stretch>
        </p:blipFill>
        <p:spPr>
          <a:xfrm>
            <a:off x="8186353" y="4188993"/>
            <a:ext cx="2481912" cy="2670595"/>
          </a:xfrm>
          <a:prstGeom prst="rect">
            <a:avLst/>
          </a:prstGeom>
          <a:ln w="12700">
            <a:miter lim="400000"/>
          </a:ln>
        </p:spPr>
      </p:pic>
      <p:sp>
        <p:nvSpPr>
          <p:cNvPr id="852" name="Shape 852"/>
          <p:cNvSpPr>
            <a:spLocks noGrp="1"/>
          </p:cNvSpPr>
          <p:nvPr>
            <p:ph type="body" idx="1"/>
          </p:nvPr>
        </p:nvSpPr>
        <p:spPr>
          <a:xfrm>
            <a:off x="1532443" y="1165594"/>
            <a:ext cx="8699529" cy="4358696"/>
          </a:xfrm>
          <a:prstGeom prst="rect">
            <a:avLst/>
          </a:prstGeom>
        </p:spPr>
        <p:txBody>
          <a:bodyPr/>
          <a:lstStyle/>
          <a:p>
            <a:pPr marL="420916" indent="-420916">
              <a:lnSpc>
                <a:spcPct val="90000"/>
              </a:lnSpc>
              <a:buFont typeface="Flama Semicondensed"/>
              <a:defRPr sz="2800">
                <a:latin typeface="Flama Semicondensed"/>
                <a:ea typeface="Flama Semicondensed"/>
                <a:cs typeface="Flama Semicondensed"/>
                <a:sym typeface="Flama Semicondensed"/>
              </a:defRPr>
            </a:pPr>
            <a:endParaRPr dirty="0"/>
          </a:p>
          <a:p>
            <a:pPr marL="420916" indent="-420916" algn="ctr">
              <a:lnSpc>
                <a:spcPct val="90000"/>
              </a:lnSpc>
              <a:buSzTx/>
              <a:buNone/>
              <a:defRPr sz="9900" b="1">
                <a:solidFill>
                  <a:srgbClr val="BE1900"/>
                </a:solidFill>
                <a:uFill>
                  <a:solidFill>
                    <a:srgbClr val="BE1900"/>
                  </a:solidFill>
                </a:uFill>
                <a:latin typeface="Arial"/>
                <a:ea typeface="Arial"/>
                <a:cs typeface="Arial"/>
                <a:sym typeface="Arial"/>
              </a:defRPr>
            </a:pPr>
            <a:r>
              <a:rPr sz="8800" dirty="0"/>
              <a:t>THANK YOU!</a:t>
            </a:r>
          </a:p>
          <a:p>
            <a:pPr marL="420916" indent="-420916" algn="ctr">
              <a:lnSpc>
                <a:spcPct val="90000"/>
              </a:lnSpc>
              <a:buSzTx/>
              <a:buNone/>
              <a:defRPr sz="2400">
                <a:latin typeface="Arial"/>
                <a:ea typeface="Arial"/>
                <a:cs typeface="Arial"/>
                <a:sym typeface="Arial"/>
              </a:defRPr>
            </a:pPr>
            <a:endParaRPr sz="1800" dirty="0"/>
          </a:p>
          <a:p>
            <a:pPr marL="420916" indent="-420916" algn="ctr">
              <a:lnSpc>
                <a:spcPct val="90000"/>
              </a:lnSpc>
              <a:buSzTx/>
              <a:buNone/>
              <a:defRPr sz="2400">
                <a:latin typeface="Arial"/>
                <a:ea typeface="Arial"/>
                <a:cs typeface="Arial"/>
                <a:sym typeface="Arial"/>
              </a:defRPr>
            </a:pPr>
            <a:endParaRPr sz="1800" dirty="0"/>
          </a:p>
          <a:p>
            <a:pPr marL="420916" indent="-420916" algn="ctr">
              <a:lnSpc>
                <a:spcPct val="90000"/>
              </a:lnSpc>
              <a:buSzTx/>
              <a:buNone/>
              <a:defRPr sz="2400">
                <a:latin typeface="Arial"/>
                <a:ea typeface="Arial"/>
                <a:cs typeface="Arial"/>
                <a:sym typeface="Arial"/>
              </a:defRPr>
            </a:pPr>
            <a:endParaRPr sz="1800" dirty="0"/>
          </a:p>
          <a:p>
            <a:pPr marL="420916" indent="-420916" algn="ctr">
              <a:buSzTx/>
              <a:buNone/>
              <a:defRPr sz="2400">
                <a:latin typeface="Arial"/>
                <a:ea typeface="Arial"/>
                <a:cs typeface="Arial"/>
                <a:sym typeface="Arial"/>
              </a:defRPr>
            </a:pPr>
            <a:r>
              <a:rPr sz="1800" dirty="0"/>
              <a:t>Feel free to contact me with comments or questions</a:t>
            </a:r>
          </a:p>
          <a:p>
            <a:pPr marL="420916" indent="-420916" algn="ctr">
              <a:buSzTx/>
              <a:buNone/>
              <a:defRPr sz="2200">
                <a:latin typeface="Arial"/>
                <a:ea typeface="Arial"/>
                <a:cs typeface="Arial"/>
                <a:sym typeface="Arial"/>
              </a:defRPr>
            </a:pPr>
            <a:endParaRPr sz="1800" dirty="0"/>
          </a:p>
          <a:p>
            <a:pPr marL="420916" indent="-420916" algn="ctr">
              <a:buSzTx/>
              <a:buNone/>
              <a:defRPr sz="2000">
                <a:latin typeface="Arial"/>
                <a:ea typeface="Arial"/>
                <a:cs typeface="Arial"/>
                <a:sym typeface="Arial"/>
              </a:defRPr>
            </a:pPr>
            <a:r>
              <a:rPr sz="1600" dirty="0"/>
              <a:t>Ph.D. Susanne Justesen</a:t>
            </a:r>
          </a:p>
          <a:p>
            <a:pPr marL="420916" indent="-420916" algn="ctr">
              <a:buSzTx/>
              <a:buNone/>
              <a:defRPr sz="2000" b="1">
                <a:latin typeface="Arial"/>
                <a:ea typeface="Arial"/>
                <a:cs typeface="Arial"/>
                <a:sym typeface="Arial"/>
              </a:defRPr>
            </a:pPr>
            <a:r>
              <a:rPr sz="1600" dirty="0"/>
              <a:t>INNOVERSITY CPH</a:t>
            </a:r>
          </a:p>
          <a:p>
            <a:pPr marL="420916" indent="-420916" algn="ctr">
              <a:buSzTx/>
              <a:buNone/>
              <a:defRPr sz="2000">
                <a:latin typeface="Arial"/>
                <a:ea typeface="Arial"/>
                <a:cs typeface="Arial"/>
                <a:sym typeface="Arial"/>
              </a:defRPr>
            </a:pPr>
            <a:endParaRPr sz="1600" dirty="0"/>
          </a:p>
          <a:p>
            <a:pPr marL="420916" indent="-420916" algn="ctr">
              <a:buSzTx/>
              <a:buNone/>
              <a:defRPr sz="2000">
                <a:latin typeface="Arial"/>
                <a:ea typeface="Arial"/>
                <a:cs typeface="Arial"/>
                <a:sym typeface="Arial"/>
              </a:defRPr>
            </a:pPr>
            <a:r>
              <a:rPr sz="1600" dirty="0"/>
              <a:t>susanne@innoversity.dk</a:t>
            </a:r>
          </a:p>
          <a:p>
            <a:pPr marL="420916" indent="-420916" algn="ctr">
              <a:buSzTx/>
              <a:buNone/>
              <a:defRPr sz="2000">
                <a:latin typeface="Arial"/>
                <a:ea typeface="Arial"/>
                <a:cs typeface="Arial"/>
                <a:sym typeface="Arial"/>
              </a:defRPr>
            </a:pPr>
            <a:r>
              <a:rPr sz="1600" dirty="0" err="1"/>
              <a:t>Tlf</a:t>
            </a:r>
            <a:r>
              <a:rPr sz="1600" dirty="0"/>
              <a:t>: (+45) 3113 1616</a:t>
            </a:r>
          </a:p>
        </p:txBody>
      </p:sp>
      <p:pic>
        <p:nvPicPr>
          <p:cNvPr id="85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399369206"/>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5</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kstfelt 2"/>
          <p:cNvSpPr txBox="1"/>
          <p:nvPr/>
        </p:nvSpPr>
        <p:spPr>
          <a:xfrm>
            <a:off x="0" y="5011341"/>
            <a:ext cx="12208932" cy="2277547"/>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600" dirty="0" smtClean="0">
                <a:solidFill>
                  <a:schemeClr val="bg1"/>
                </a:solidFill>
              </a:rPr>
              <a:t>More </a:t>
            </a:r>
            <a:r>
              <a:rPr lang="en-US" sz="3600" dirty="0" smtClean="0">
                <a:solidFill>
                  <a:schemeClr val="bg1"/>
                </a:solidFill>
              </a:rPr>
              <a:t>opportunities</a:t>
            </a:r>
            <a:r>
              <a:rPr lang="da-DK" sz="3600" dirty="0" smtClean="0">
                <a:solidFill>
                  <a:schemeClr val="bg1"/>
                </a:solidFill>
              </a:rPr>
              <a:t> for researchers and </a:t>
            </a:r>
            <a:r>
              <a:rPr lang="en-US" sz="3600" dirty="0" smtClean="0">
                <a:solidFill>
                  <a:schemeClr val="bg1"/>
                </a:solidFill>
              </a:rPr>
              <a:t>entrepreneurs</a:t>
            </a:r>
          </a:p>
          <a:p>
            <a:endParaRPr lang="en-US" sz="3200" dirty="0">
              <a:solidFill>
                <a:schemeClr val="bg1"/>
              </a:solidFill>
            </a:endParaRPr>
          </a:p>
          <a:p>
            <a:endParaRPr lang="en-US" sz="320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6</a:t>
            </a:fld>
            <a:endParaRPr lang="en-GB" dirty="0"/>
          </a:p>
        </p:txBody>
      </p:sp>
      <p:sp>
        <p:nvSpPr>
          <p:cNvPr id="5" name="Rektangel 4"/>
          <p:cNvSpPr/>
          <p:nvPr/>
        </p:nvSpPr>
        <p:spPr>
          <a:xfrm>
            <a:off x="862642" y="1560228"/>
            <a:ext cx="5212155" cy="4416594"/>
          </a:xfrm>
          <a:prstGeom prst="rect">
            <a:avLst/>
          </a:prstGeom>
        </p:spPr>
        <p:txBody>
          <a:bodyPr wrap="square">
            <a:spAutoFit/>
          </a:bodyPr>
          <a:lstStyle/>
          <a:p>
            <a:pPr marL="342900" indent="-342900">
              <a:buFont typeface="Arial" panose="020B0604020202020204" pitchFamily="34" charset="0"/>
              <a:buChar char="•"/>
            </a:pPr>
            <a:r>
              <a:rPr lang="da-DK" altLang="da-DK" sz="2000" dirty="0"/>
              <a:t>Significant professional </a:t>
            </a:r>
            <a:r>
              <a:rPr lang="da-DK" altLang="da-DK" sz="2000" dirty="0" smtClean="0"/>
              <a:t>work-experience</a:t>
            </a:r>
            <a:endParaRPr lang="da-DK" altLang="da-DK" sz="2000" dirty="0"/>
          </a:p>
          <a:p>
            <a:pPr marL="342900" indent="-342900">
              <a:buFont typeface="Arial" panose="020B0604020202020204" pitchFamily="34" charset="0"/>
              <a:buChar char="•"/>
            </a:pPr>
            <a:endParaRPr lang="da-DK" sz="2000" dirty="0"/>
          </a:p>
          <a:p>
            <a:pPr marL="342900" indent="-342900">
              <a:buFont typeface="Arial" panose="020B0604020202020204" pitchFamily="34" charset="0"/>
              <a:buChar char="•"/>
            </a:pPr>
            <a:r>
              <a:rPr lang="da-DK" altLang="da-DK" sz="2000" dirty="0"/>
              <a:t>Entrepreneurs will receive:</a:t>
            </a:r>
          </a:p>
          <a:p>
            <a:pPr marL="1000131" lvl="1" indent="-457200">
              <a:buFont typeface="+mj-lt"/>
              <a:buAutoNum type="arabicPeriod"/>
            </a:pPr>
            <a:r>
              <a:rPr lang="da-DK" altLang="da-DK" sz="2000" dirty="0" err="1"/>
              <a:t>Monthly</a:t>
            </a:r>
            <a:r>
              <a:rPr lang="da-DK" altLang="da-DK" sz="2000" dirty="0"/>
              <a:t> </a:t>
            </a:r>
            <a:r>
              <a:rPr lang="da-DK" altLang="da-DK" sz="2000" dirty="0" smtClean="0"/>
              <a:t>grant </a:t>
            </a:r>
            <a:r>
              <a:rPr lang="da-DK" altLang="da-DK" sz="2000" dirty="0"/>
              <a:t>of DKK 30,000 for a 12 month period </a:t>
            </a:r>
          </a:p>
          <a:p>
            <a:pPr marL="1000131" lvl="1" indent="-457200">
              <a:buFont typeface="+mj-lt"/>
              <a:buAutoNum type="arabicPeriod"/>
            </a:pPr>
            <a:r>
              <a:rPr lang="da-DK" altLang="da-DK" sz="2000" dirty="0"/>
              <a:t>A </a:t>
            </a:r>
            <a:r>
              <a:rPr lang="da-DK" altLang="da-DK" sz="2000" dirty="0" err="1"/>
              <a:t>special</a:t>
            </a:r>
            <a:r>
              <a:rPr lang="da-DK" altLang="da-DK" sz="2000" dirty="0"/>
              <a:t> grant of DKK </a:t>
            </a:r>
            <a:r>
              <a:rPr lang="da-DK" altLang="da-DK" sz="2000" dirty="0" smtClean="0"/>
              <a:t>100,000 </a:t>
            </a:r>
            <a:r>
              <a:rPr lang="da-DK" altLang="da-DK" sz="2000" dirty="0"/>
              <a:t>to </a:t>
            </a:r>
            <a:r>
              <a:rPr lang="da-DK" altLang="da-DK" sz="2000" dirty="0" smtClean="0"/>
              <a:t>cover up-front finance</a:t>
            </a:r>
            <a:endParaRPr lang="da-DK" altLang="da-DK" sz="2000" dirty="0"/>
          </a:p>
          <a:p>
            <a:endParaRPr lang="da-DK" altLang="da-DK" sz="2000" dirty="0"/>
          </a:p>
          <a:p>
            <a:pPr marL="342900" indent="-342900">
              <a:buFont typeface="Arial" panose="020B0604020202020204" pitchFamily="34" charset="0"/>
              <a:buChar char="•"/>
            </a:pPr>
            <a:r>
              <a:rPr lang="da-DK" altLang="da-DK" sz="2000" dirty="0" smtClean="0"/>
              <a:t>Entrepreneurs </a:t>
            </a:r>
            <a:r>
              <a:rPr lang="da-DK" altLang="da-DK" sz="2000" dirty="0"/>
              <a:t>will be </a:t>
            </a:r>
            <a:r>
              <a:rPr lang="da-DK" altLang="da-DK" sz="2000" dirty="0" smtClean="0"/>
              <a:t>followed </a:t>
            </a:r>
            <a:r>
              <a:rPr lang="da-DK" altLang="da-DK" sz="2000" dirty="0"/>
              <a:t>to identify the </a:t>
            </a:r>
            <a:r>
              <a:rPr lang="da-DK" altLang="da-DK" sz="2000" dirty="0" err="1"/>
              <a:t>need</a:t>
            </a:r>
            <a:r>
              <a:rPr lang="da-DK" altLang="da-DK" sz="2000" dirty="0"/>
              <a:t> for knowledge, </a:t>
            </a:r>
            <a:r>
              <a:rPr lang="da-DK" altLang="da-DK" sz="2000" dirty="0" smtClean="0"/>
              <a:t>sparring and network</a:t>
            </a:r>
            <a:endParaRPr lang="da-DK" sz="2000" dirty="0"/>
          </a:p>
          <a:p>
            <a:pPr marL="342900" indent="-342900">
              <a:buFont typeface="Arial" panose="020B0604020202020204" pitchFamily="34" charset="0"/>
              <a:buChar char="•"/>
            </a:pPr>
            <a:endParaRPr lang="da-DK" altLang="da-DK" sz="2000" dirty="0" smtClean="0"/>
          </a:p>
          <a:p>
            <a:pPr marL="342900" indent="-342900">
              <a:buFont typeface="Arial" panose="020B0604020202020204" pitchFamily="34" charset="0"/>
              <a:buChar char="•"/>
            </a:pPr>
            <a:r>
              <a:rPr lang="da-DK" altLang="da-DK" sz="2000" dirty="0" smtClean="0"/>
              <a:t>Social </a:t>
            </a:r>
            <a:r>
              <a:rPr lang="da-DK" altLang="da-DK" sz="2000" dirty="0"/>
              <a:t>impact </a:t>
            </a:r>
            <a:r>
              <a:rPr lang="da-DK" altLang="da-DK" sz="2000" dirty="0" smtClean="0"/>
              <a:t>matter</a:t>
            </a:r>
            <a:endParaRPr lang="da-DK" sz="2000" dirty="0"/>
          </a:p>
          <a:p>
            <a:endParaRPr lang="da-DK" dirty="0"/>
          </a:p>
        </p:txBody>
      </p:sp>
      <p:sp>
        <p:nvSpPr>
          <p:cNvPr id="9"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a:t>
            </a:r>
            <a:r>
              <a:rPr lang="da-DK" dirty="0" smtClean="0"/>
              <a:t>: </a:t>
            </a:r>
            <a:r>
              <a:rPr lang="da-DK" dirty="0" err="1" smtClean="0"/>
              <a:t>InnoFounder</a:t>
            </a:r>
            <a:r>
              <a:rPr lang="da-DK" dirty="0" smtClean="0"/>
              <a:t> </a:t>
            </a:r>
            <a:r>
              <a:rPr lang="da-DK" dirty="0" err="1"/>
              <a:t>Experienced</a:t>
            </a:r>
            <a:r>
              <a:rPr lang="da-DK" dirty="0"/>
              <a:t> </a:t>
            </a:r>
          </a:p>
        </p:txBody>
      </p:sp>
      <p:pic>
        <p:nvPicPr>
          <p:cNvPr id="87045" name="Picture 5" descr="Billedresultat for innofounder"/>
          <p:cNvPicPr>
            <a:picLocks noChangeAspect="1" noChangeArrowheads="1"/>
          </p:cNvPicPr>
          <p:nvPr/>
        </p:nvPicPr>
        <p:blipFill rotWithShape="1">
          <a:blip r:embed="rId2">
            <a:extLst>
              <a:ext uri="{28A0092B-C50C-407E-A947-70E740481C1C}">
                <a14:useLocalDpi xmlns:a14="http://schemas.microsoft.com/office/drawing/2010/main" val="0"/>
              </a:ext>
            </a:extLst>
          </a:blip>
          <a:srcRect b="13553"/>
          <a:stretch/>
        </p:blipFill>
        <p:spPr bwMode="auto">
          <a:xfrm>
            <a:off x="6381449" y="1560228"/>
            <a:ext cx="4899361" cy="423533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9503753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tre puslebrikk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3233" y="1114121"/>
            <a:ext cx="6450531" cy="430035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7</a:t>
            </a:fld>
            <a:endParaRPr lang="en-GB" dirty="0"/>
          </a:p>
        </p:txBody>
      </p:sp>
      <p:sp>
        <p:nvSpPr>
          <p:cNvPr id="3" name="Rektangel 2"/>
          <p:cNvSpPr/>
          <p:nvPr/>
        </p:nvSpPr>
        <p:spPr>
          <a:xfrm>
            <a:off x="4450372" y="3198168"/>
            <a:ext cx="3288080" cy="461665"/>
          </a:xfrm>
          <a:prstGeom prst="rect">
            <a:avLst/>
          </a:prstGeom>
        </p:spPr>
        <p:txBody>
          <a:bodyPr wrap="none">
            <a:spAutoFit/>
          </a:bodyPr>
          <a:lstStyle/>
          <a:p>
            <a:r>
              <a:rPr lang="da-DK" sz="2400" dirty="0">
                <a:solidFill>
                  <a:schemeClr val="bg1"/>
                </a:solidFill>
              </a:rPr>
              <a:t>Senior Industry Fellow</a:t>
            </a:r>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 </a:t>
            </a:r>
            <a:r>
              <a:rPr lang="da-DK" dirty="0" smtClean="0"/>
              <a:t>Industrial </a:t>
            </a:r>
            <a:r>
              <a:rPr lang="da-DK" dirty="0"/>
              <a:t>Fellow</a:t>
            </a:r>
          </a:p>
        </p:txBody>
      </p:sp>
      <p:sp>
        <p:nvSpPr>
          <p:cNvPr id="4" name="Rektangel 3"/>
          <p:cNvSpPr/>
          <p:nvPr/>
        </p:nvSpPr>
        <p:spPr>
          <a:xfrm>
            <a:off x="862642" y="1720840"/>
            <a:ext cx="4912341" cy="3877985"/>
          </a:xfrm>
          <a:prstGeom prst="rect">
            <a:avLst/>
          </a:prstGeom>
        </p:spPr>
        <p:txBody>
          <a:bodyPr wrap="square">
            <a:spAutoFit/>
          </a:bodyPr>
          <a:lstStyle/>
          <a:p>
            <a:pPr marL="342900" indent="-342900">
              <a:spcAft>
                <a:spcPts val="1200"/>
              </a:spcAft>
              <a:buFont typeface="Arial" panose="020B0604020202020204" pitchFamily="34" charset="0"/>
              <a:buChar char="•"/>
            </a:pPr>
            <a:r>
              <a:rPr lang="da-DK" altLang="da-DK" sz="2400" dirty="0"/>
              <a:t>Company and </a:t>
            </a:r>
            <a:r>
              <a:rPr lang="da-DK" altLang="da-DK" sz="2400" dirty="0" err="1"/>
              <a:t>university</a:t>
            </a:r>
            <a:r>
              <a:rPr lang="da-DK" altLang="da-DK" sz="2400" dirty="0"/>
              <a:t> </a:t>
            </a:r>
            <a:r>
              <a:rPr lang="da-DK" altLang="da-DK" sz="2400" dirty="0" err="1"/>
              <a:t>collaboration</a:t>
            </a:r>
            <a:r>
              <a:rPr lang="da-DK" altLang="da-DK" sz="2400" dirty="0"/>
              <a:t> + </a:t>
            </a:r>
            <a:r>
              <a:rPr lang="da-DK" altLang="da-DK" sz="2400" dirty="0" err="1"/>
              <a:t>highly</a:t>
            </a:r>
            <a:r>
              <a:rPr lang="da-DK" altLang="da-DK" sz="2400" dirty="0"/>
              <a:t> </a:t>
            </a:r>
            <a:r>
              <a:rPr lang="da-DK" altLang="da-DK" sz="2400" dirty="0" err="1"/>
              <a:t>skilled</a:t>
            </a:r>
            <a:r>
              <a:rPr lang="da-DK" altLang="da-DK" sz="2400" dirty="0"/>
              <a:t> researcher </a:t>
            </a:r>
            <a:endParaRPr lang="da-DK" altLang="da-DK" sz="2400" dirty="0" smtClean="0"/>
          </a:p>
          <a:p>
            <a:pPr marL="342900" indent="-342900">
              <a:spcAft>
                <a:spcPts val="1200"/>
              </a:spcAft>
              <a:buFont typeface="Arial" panose="020B0604020202020204" pitchFamily="34" charset="0"/>
              <a:buChar char="•"/>
            </a:pPr>
            <a:r>
              <a:rPr lang="da-DK" sz="2400" dirty="0" smtClean="0"/>
              <a:t>The </a:t>
            </a:r>
            <a:r>
              <a:rPr lang="da-DK" sz="2400" dirty="0"/>
              <a:t>researcher is </a:t>
            </a:r>
            <a:r>
              <a:rPr lang="da-DK" sz="2400" dirty="0" err="1"/>
              <a:t>temporarily</a:t>
            </a:r>
            <a:r>
              <a:rPr lang="da-DK" sz="2400" dirty="0"/>
              <a:t> </a:t>
            </a:r>
            <a:r>
              <a:rPr lang="da-DK" sz="2400" dirty="0" err="1"/>
              <a:t>employed</a:t>
            </a:r>
            <a:r>
              <a:rPr lang="da-DK" sz="2400" dirty="0"/>
              <a:t> (part time or </a:t>
            </a:r>
            <a:r>
              <a:rPr lang="da-DK" sz="2400" dirty="0" err="1"/>
              <a:t>full</a:t>
            </a:r>
            <a:r>
              <a:rPr lang="da-DK" sz="2400" dirty="0"/>
              <a:t> time) in the </a:t>
            </a:r>
            <a:r>
              <a:rPr lang="da-DK" sz="2400" dirty="0" err="1"/>
              <a:t>other</a:t>
            </a:r>
            <a:r>
              <a:rPr lang="da-DK" sz="2400" dirty="0"/>
              <a:t> </a:t>
            </a:r>
            <a:r>
              <a:rPr lang="da-DK" sz="2400" dirty="0" smtClean="0"/>
              <a:t>organisation</a:t>
            </a:r>
          </a:p>
          <a:p>
            <a:pPr marL="342900" indent="-342900">
              <a:spcAft>
                <a:spcPts val="1200"/>
              </a:spcAft>
              <a:buFont typeface="Arial" panose="020B0604020202020204" pitchFamily="34" charset="0"/>
              <a:buChar char="•"/>
            </a:pPr>
            <a:r>
              <a:rPr lang="da-DK" sz="2400" dirty="0" err="1" smtClean="0"/>
              <a:t>Duration</a:t>
            </a:r>
            <a:r>
              <a:rPr lang="da-DK" sz="2400" dirty="0" smtClean="0"/>
              <a:t> </a:t>
            </a:r>
            <a:r>
              <a:rPr lang="da-DK" sz="2400" dirty="0" err="1" smtClean="0"/>
              <a:t>between</a:t>
            </a:r>
            <a:r>
              <a:rPr lang="da-DK" sz="2400" dirty="0" smtClean="0"/>
              <a:t> ½-2 </a:t>
            </a:r>
            <a:r>
              <a:rPr lang="da-DK" sz="2400" dirty="0" err="1"/>
              <a:t>years</a:t>
            </a:r>
            <a:r>
              <a:rPr lang="da-DK" sz="2400" dirty="0"/>
              <a:t> </a:t>
            </a:r>
          </a:p>
          <a:p>
            <a:pPr marL="342900" indent="-342900">
              <a:spcAft>
                <a:spcPts val="1200"/>
              </a:spcAft>
              <a:buFont typeface="Arial" panose="020B0604020202020204" pitchFamily="34" charset="0"/>
              <a:buChar char="•"/>
            </a:pPr>
            <a:r>
              <a:rPr lang="da-DK" sz="2400" dirty="0" smtClean="0"/>
              <a:t>IFD </a:t>
            </a:r>
            <a:r>
              <a:rPr lang="da-DK" sz="2400" dirty="0" err="1"/>
              <a:t>finances</a:t>
            </a:r>
            <a:r>
              <a:rPr lang="da-DK" sz="2400" dirty="0"/>
              <a:t> </a:t>
            </a:r>
            <a:r>
              <a:rPr lang="da-DK" sz="2400" dirty="0" err="1"/>
              <a:t>salary</a:t>
            </a:r>
            <a:r>
              <a:rPr lang="da-DK" sz="2400" dirty="0"/>
              <a:t> and </a:t>
            </a:r>
            <a:r>
              <a:rPr lang="da-DK" sz="2400" dirty="0" err="1"/>
              <a:t>other</a:t>
            </a:r>
            <a:r>
              <a:rPr lang="da-DK" sz="2400" dirty="0"/>
              <a:t> </a:t>
            </a:r>
            <a:r>
              <a:rPr lang="da-DK" sz="2400" dirty="0" err="1"/>
              <a:t>project</a:t>
            </a:r>
            <a:r>
              <a:rPr lang="da-DK" sz="2400" dirty="0"/>
              <a:t> </a:t>
            </a:r>
            <a:r>
              <a:rPr lang="da-DK" sz="2400" dirty="0" err="1"/>
              <a:t>related</a:t>
            </a:r>
            <a:r>
              <a:rPr lang="da-DK" sz="2400" dirty="0"/>
              <a:t> </a:t>
            </a:r>
            <a:r>
              <a:rPr lang="da-DK" sz="2400" dirty="0" err="1"/>
              <a:t>expenses</a:t>
            </a:r>
            <a:endParaRPr lang="da-DK" sz="2400" dirty="0"/>
          </a:p>
        </p:txBody>
      </p:sp>
    </p:spTree>
    <p:extLst>
      <p:ext uri="{BB962C8B-B14F-4D97-AF65-F5344CB8AC3E}">
        <p14:creationId xmlns:p14="http://schemas.microsoft.com/office/powerpoint/2010/main" val="32509541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8</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343931"/>
            <a:ext cx="12190413" cy="1846659"/>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4000" dirty="0" err="1" smtClean="0">
                <a:solidFill>
                  <a:schemeClr val="bg1"/>
                </a:solidFill>
              </a:rPr>
              <a:t>InnoExplorer</a:t>
            </a:r>
            <a:r>
              <a:rPr lang="da-DK" sz="4000" dirty="0" smtClean="0">
                <a:solidFill>
                  <a:schemeClr val="bg1"/>
                </a:solidFill>
              </a:rPr>
              <a:t> – </a:t>
            </a:r>
            <a:r>
              <a:rPr lang="da-DK" sz="4000" dirty="0" err="1" smtClean="0">
                <a:solidFill>
                  <a:schemeClr val="bg1"/>
                </a:solidFill>
              </a:rPr>
              <a:t>opening</a:t>
            </a:r>
            <a:r>
              <a:rPr lang="da-DK" sz="4000" dirty="0" smtClean="0">
                <a:solidFill>
                  <a:schemeClr val="bg1"/>
                </a:solidFill>
              </a:rPr>
              <a:t> in 2019 </a:t>
            </a:r>
          </a:p>
          <a:p>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9</a:t>
            </a:fld>
            <a:endParaRPr lang="en-GB" dirty="0"/>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i="1" dirty="0" smtClean="0"/>
              <a:t>New</a:t>
            </a:r>
            <a:r>
              <a:rPr lang="da-DK" dirty="0" smtClean="0"/>
              <a:t>: </a:t>
            </a:r>
            <a:r>
              <a:rPr lang="da-DK" dirty="0" err="1" smtClean="0"/>
              <a:t>InnoExplorer</a:t>
            </a:r>
            <a:endParaRPr lang="da-DK" dirty="0"/>
          </a:p>
        </p:txBody>
      </p:sp>
      <p:sp>
        <p:nvSpPr>
          <p:cNvPr id="6" name="Rektangel 5"/>
          <p:cNvSpPr/>
          <p:nvPr/>
        </p:nvSpPr>
        <p:spPr>
          <a:xfrm>
            <a:off x="857250" y="1631731"/>
            <a:ext cx="5184321" cy="3477875"/>
          </a:xfrm>
          <a:prstGeom prst="rect">
            <a:avLst/>
          </a:prstGeom>
        </p:spPr>
        <p:txBody>
          <a:bodyPr wrap="square">
            <a:spAutoFit/>
          </a:bodyPr>
          <a:lstStyle/>
          <a:p>
            <a:pPr marL="342900" indent="-342900">
              <a:buFont typeface="Arial" panose="020B0604020202020204" pitchFamily="34" charset="0"/>
              <a:buChar char="•"/>
            </a:pPr>
            <a:r>
              <a:rPr lang="da-DK" altLang="da-DK" sz="2000" dirty="0" err="1"/>
              <a:t>R</a:t>
            </a:r>
            <a:r>
              <a:rPr lang="da-DK" altLang="da-DK" sz="2000" dirty="0" err="1" smtClean="0"/>
              <a:t>esults</a:t>
            </a:r>
            <a:r>
              <a:rPr lang="da-DK" altLang="da-DK" sz="2000" dirty="0" smtClean="0"/>
              <a:t> </a:t>
            </a:r>
            <a:r>
              <a:rPr lang="da-DK" altLang="da-DK" sz="2000" dirty="0"/>
              <a:t>and </a:t>
            </a:r>
            <a:r>
              <a:rPr lang="da-DK" altLang="da-DK" sz="2000" dirty="0" err="1"/>
              <a:t>technologies</a:t>
            </a:r>
            <a:r>
              <a:rPr lang="da-DK" altLang="da-DK" sz="2000" dirty="0"/>
              <a:t> </a:t>
            </a:r>
            <a:r>
              <a:rPr lang="da-DK" altLang="da-DK" sz="2000" dirty="0" err="1"/>
              <a:t>developed</a:t>
            </a:r>
            <a:r>
              <a:rPr lang="da-DK" altLang="da-DK" sz="2000" dirty="0"/>
              <a:t> at </a:t>
            </a:r>
            <a:r>
              <a:rPr lang="da-DK" altLang="da-DK" sz="2000" dirty="0" err="1"/>
              <a:t>universities</a:t>
            </a:r>
            <a:r>
              <a:rPr lang="da-DK" altLang="da-DK" sz="2000" dirty="0"/>
              <a:t>, hospitals and </a:t>
            </a:r>
            <a:r>
              <a:rPr lang="da-DK" altLang="da-DK" sz="2000" dirty="0" err="1"/>
              <a:t>university</a:t>
            </a:r>
            <a:r>
              <a:rPr lang="da-DK" altLang="da-DK" sz="2000" dirty="0"/>
              <a:t> </a:t>
            </a:r>
            <a:r>
              <a:rPr lang="da-DK" altLang="da-DK" sz="2000" dirty="0" smtClean="0"/>
              <a:t>colleges.</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err="1" smtClean="0"/>
              <a:t>InnoExplorer</a:t>
            </a:r>
            <a:r>
              <a:rPr lang="da-DK" altLang="da-DK" sz="2000" dirty="0" smtClean="0"/>
              <a:t> </a:t>
            </a:r>
            <a:r>
              <a:rPr lang="da-DK" altLang="da-DK" sz="2000" dirty="0" err="1" smtClean="0"/>
              <a:t>can</a:t>
            </a:r>
            <a:r>
              <a:rPr lang="da-DK" altLang="da-DK" sz="2000" dirty="0" smtClean="0"/>
              <a:t> </a:t>
            </a:r>
            <a:r>
              <a:rPr lang="da-DK" altLang="da-DK" sz="2000" dirty="0" err="1"/>
              <a:t>allocate</a:t>
            </a:r>
            <a:r>
              <a:rPr lang="da-DK" altLang="da-DK" sz="2000" dirty="0"/>
              <a:t> </a:t>
            </a:r>
            <a:r>
              <a:rPr lang="da-DK" altLang="da-DK" sz="2000" dirty="0" err="1"/>
              <a:t>funding</a:t>
            </a:r>
            <a:r>
              <a:rPr lang="da-DK" altLang="da-DK" sz="2000" dirty="0"/>
              <a:t> for researchers' </a:t>
            </a:r>
            <a:r>
              <a:rPr lang="da-DK" altLang="da-DK" sz="2000" dirty="0" err="1"/>
              <a:t>wages</a:t>
            </a:r>
            <a:r>
              <a:rPr lang="da-DK" altLang="da-DK" sz="2000" dirty="0"/>
              <a:t>, relevant services and </a:t>
            </a:r>
            <a:r>
              <a:rPr lang="da-DK" altLang="da-DK" sz="2000" dirty="0" err="1" smtClean="0"/>
              <a:t>materials</a:t>
            </a:r>
            <a:r>
              <a:rPr lang="da-DK" altLang="da-DK" sz="2000" dirty="0" smtClean="0"/>
              <a:t> and overhea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Application: DKK 0.5-1.5m from IF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The </a:t>
            </a:r>
            <a:r>
              <a:rPr lang="da-DK" altLang="da-DK" sz="2000" dirty="0" err="1"/>
              <a:t>projects</a:t>
            </a:r>
            <a:r>
              <a:rPr lang="da-DK" altLang="da-DK" sz="2000" dirty="0"/>
              <a:t> </a:t>
            </a:r>
            <a:r>
              <a:rPr lang="da-DK" altLang="da-DK" sz="2000" dirty="0" err="1"/>
              <a:t>can</a:t>
            </a:r>
            <a:r>
              <a:rPr lang="da-DK" altLang="da-DK" sz="2000" dirty="0"/>
              <a:t> last up to </a:t>
            </a:r>
            <a:r>
              <a:rPr lang="da-DK" altLang="da-DK" sz="2000" dirty="0" err="1"/>
              <a:t>one</a:t>
            </a:r>
            <a:r>
              <a:rPr lang="da-DK" altLang="da-DK" sz="2000" dirty="0"/>
              <a:t> year. </a:t>
            </a:r>
            <a:endParaRPr lang="da-DK" sz="2000" dirty="0"/>
          </a:p>
        </p:txBody>
      </p:sp>
      <p:pic>
        <p:nvPicPr>
          <p:cNvPr id="9" name="Picture 2" descr="Billedresultat for innovationsfonden"/>
          <p:cNvPicPr>
            <a:picLocks noChangeAspect="1" noChangeArrowheads="1"/>
          </p:cNvPicPr>
          <p:nvPr/>
        </p:nvPicPr>
        <p:blipFill rotWithShape="1">
          <a:blip r:embed="rId2">
            <a:extLst>
              <a:ext uri="{28A0092B-C50C-407E-A947-70E740481C1C}">
                <a14:useLocalDpi xmlns:a14="http://schemas.microsoft.com/office/drawing/2010/main" val="0"/>
              </a:ext>
            </a:extLst>
          </a:blip>
          <a:srcRect l="8856" r="9671"/>
          <a:stretch/>
        </p:blipFill>
        <p:spPr bwMode="auto">
          <a:xfrm>
            <a:off x="6381537" y="1541879"/>
            <a:ext cx="4933169" cy="423843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670708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a:t>
            </a:fld>
            <a:endParaRPr lang="en-GB" dirty="0"/>
          </a:p>
        </p:txBody>
      </p:sp>
      <p:pic>
        <p:nvPicPr>
          <p:cNvPr id="87042" name="Picture 2" descr=" C.F. MÃ¸ller Architects head offices. C.F. MÃ¸ller. Photo: Julian Wey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67991"/>
            <a:ext cx="12190413" cy="815741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8097230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0</a:t>
            </a:fld>
            <a:endParaRPr lang="en-GB" dirty="0"/>
          </a:p>
        </p:txBody>
      </p:sp>
      <p:pic>
        <p:nvPicPr>
          <p:cNvPr id="88070" name="Picture 6" descr="Billedresultat for innobooster"/>
          <p:cNvPicPr>
            <a:picLocks noChangeAspect="1" noChangeArrowheads="1"/>
          </p:cNvPicPr>
          <p:nvPr/>
        </p:nvPicPr>
        <p:blipFill rotWithShape="1">
          <a:blip r:embed="rId3">
            <a:extLst>
              <a:ext uri="{28A0092B-C50C-407E-A947-70E740481C1C}">
                <a14:useLocalDpi xmlns:a14="http://schemas.microsoft.com/office/drawing/2010/main" val="0"/>
              </a:ext>
            </a:extLst>
          </a:blip>
          <a:srcRect t="1" b="49150"/>
          <a:stretch/>
        </p:blipFill>
        <p:spPr bwMode="auto">
          <a:xfrm>
            <a:off x="1255690" y="759762"/>
            <a:ext cx="9897974" cy="314568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kstfelt 2"/>
          <p:cNvSpPr txBox="1"/>
          <p:nvPr/>
        </p:nvSpPr>
        <p:spPr>
          <a:xfrm>
            <a:off x="3283037" y="4416358"/>
            <a:ext cx="5693866" cy="861774"/>
          </a:xfrm>
          <a:prstGeom prst="rect">
            <a:avLst/>
          </a:prstGeom>
          <a:noFill/>
        </p:spPr>
        <p:txBody>
          <a:bodyPr wrap="none" lIns="0" tIns="0" rIns="0" bIns="0" rtlCol="0">
            <a:spAutoFit/>
          </a:bodyPr>
          <a:lstStyle/>
          <a:p>
            <a:pPr algn="ctr"/>
            <a:r>
              <a:rPr lang="da-DK" sz="2800" b="1" dirty="0" smtClean="0"/>
              <a:t>50.000 – 5 mio. DKK</a:t>
            </a:r>
          </a:p>
          <a:p>
            <a:pPr algn="ctr"/>
            <a:r>
              <a:rPr lang="da-DK" sz="2800" b="1" dirty="0" smtClean="0"/>
              <a:t>for innovative </a:t>
            </a:r>
            <a:r>
              <a:rPr lang="da-DK" sz="2800" b="1" dirty="0" err="1" smtClean="0"/>
              <a:t>startups</a:t>
            </a:r>
            <a:r>
              <a:rPr lang="da-DK" sz="2800" b="1" dirty="0" smtClean="0"/>
              <a:t> and </a:t>
            </a:r>
            <a:r>
              <a:rPr lang="da-DK" sz="2800" b="1" dirty="0" err="1" smtClean="0"/>
              <a:t>SMEs</a:t>
            </a:r>
            <a:endParaRPr lang="da-DK" sz="2800" b="1" noProof="0" dirty="0" err="1" smtClean="0"/>
          </a:p>
        </p:txBody>
      </p:sp>
    </p:spTree>
    <p:extLst>
      <p:ext uri="{BB962C8B-B14F-4D97-AF65-F5344CB8AC3E}">
        <p14:creationId xmlns:p14="http://schemas.microsoft.com/office/powerpoint/2010/main" val="7916754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1</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activity</a:t>
            </a:r>
            <a:r>
              <a:rPr lang="da-DK" dirty="0" smtClean="0"/>
              <a:t> from Central Denmark Region</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28-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42</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43</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qua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p>
          <a:p>
            <a:r>
              <a:rPr lang="da-DK" sz="1600" noProof="0" dirty="0" smtClean="0">
                <a:solidFill>
                  <a:schemeClr val="bg1"/>
                </a:solidFill>
              </a:rPr>
              <a:t>programmes</a:t>
            </a: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28-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44</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45</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1"/>
          <p:cNvPicPr>
            <a:picLocks/>
          </p:cNvPicPr>
          <p:nvPr/>
        </p:nvPicPr>
        <p:blipFill>
          <a:blip r:embed="rId6"/>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9"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1"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2"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4"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6</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592" y="0"/>
            <a:ext cx="12458005" cy="7007629"/>
          </a:xfrm>
          <a:prstGeom prst="rect">
            <a:avLst/>
          </a:prstGeom>
          <a:noFill/>
          <a:extLst>
            <a:ext uri="{909E8E84-426E-40dd-AFC4-6F175D3DCCD1}">
              <a14:hiddenFill xmlns:a14="http://schemas.microsoft.com/office/drawing/2010/main" xmlns="">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47</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368740" y="3429794"/>
            <a:ext cx="2813622" cy="2245140"/>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8797134" y="724286"/>
            <a:ext cx="3393279" cy="2705508"/>
          </a:xfrm>
        </p:spPr>
      </p:pic>
      <p:sp>
        <p:nvSpPr>
          <p:cNvPr id="9" name="Pladsholder til dato 8"/>
          <p:cNvSpPr>
            <a:spLocks noGrp="1"/>
          </p:cNvSpPr>
          <p:nvPr>
            <p:ph type="dt" sz="half" idx="10"/>
          </p:nvPr>
        </p:nvSpPr>
        <p:spPr/>
        <p:txBody>
          <a:bodyPr/>
          <a:lstStyle/>
          <a:p>
            <a:fld id="{1E065F23-D60D-4538-A70F-899635360AB3}" type="datetime1">
              <a:rPr lang="da-DK" smtClean="0"/>
              <a:t>28-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48</a:t>
            </a:fld>
            <a:endParaRPr lang="da-DK" dirty="0"/>
          </a:p>
        </p:txBody>
      </p:sp>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1" y="-332255"/>
            <a:ext cx="7832776" cy="1123384"/>
          </a:xfrm>
          <a:prstGeom prst="rect">
            <a:avLst/>
          </a:prstGeom>
          <a:solidFill>
            <a:schemeClr val="tx2"/>
          </a:solidFill>
        </p:spPr>
        <p:txBody>
          <a:bodyPr wrap="square" lIns="0" tIns="0" rIns="0" bIns="0" rtlCol="0">
            <a:spAutoFit/>
          </a:bodyPr>
          <a:lstStyle/>
          <a:p>
            <a:endParaRPr lang="da-DK" dirty="0">
              <a:solidFill>
                <a:schemeClr val="tx2">
                  <a:lumMod val="50000"/>
                </a:schemeClr>
              </a:solidFill>
            </a:endParaRPr>
          </a:p>
          <a:p>
            <a:r>
              <a:rPr lang="da-DK" altLang="da-DK" sz="2800" b="1" dirty="0" smtClean="0">
                <a:solidFill>
                  <a:srgbClr val="212121"/>
                </a:solidFill>
                <a:latin typeface="inherit"/>
              </a:rPr>
              <a:t>                 </a:t>
            </a:r>
            <a:r>
              <a:rPr lang="da-DK" altLang="da-DK" sz="2400" b="1" dirty="0" err="1" smtClean="0">
                <a:solidFill>
                  <a:srgbClr val="212121"/>
                </a:solidFill>
                <a:latin typeface="inherit"/>
              </a:rPr>
              <a:t>Making</a:t>
            </a:r>
            <a:r>
              <a:rPr lang="da-DK" altLang="da-DK" sz="2400" b="1" dirty="0" smtClean="0">
                <a:solidFill>
                  <a:srgbClr val="212121"/>
                </a:solidFill>
                <a:latin typeface="inherit"/>
              </a:rPr>
              <a:t> innovation </a:t>
            </a:r>
            <a:r>
              <a:rPr lang="da-DK" altLang="da-DK" sz="2400" b="1" dirty="0" err="1" smtClean="0">
                <a:solidFill>
                  <a:srgbClr val="212121"/>
                </a:solidFill>
                <a:latin typeface="inherit"/>
              </a:rPr>
              <a:t>happen</a:t>
            </a:r>
            <a:endParaRPr lang="da-DK" altLang="da-DK" sz="2800" b="1" dirty="0" smtClean="0">
              <a:solidFill>
                <a:srgbClr val="212121"/>
              </a:solidFill>
              <a:latin typeface="inherit"/>
            </a:endParaRPr>
          </a:p>
          <a:p>
            <a:endParaRPr lang="da-DK" altLang="da-DK" sz="2400" b="1" dirty="0" smtClean="0">
              <a:solidFill>
                <a:srgbClr val="212121"/>
              </a:solidFill>
              <a:latin typeface="inherit"/>
            </a:endParaRPr>
          </a:p>
        </p:txBody>
      </p:sp>
      <p:pic>
        <p:nvPicPr>
          <p:cNvPr id="12" name="Billede 11"/>
          <p:cNvPicPr>
            <a:picLocks noChangeAspect="1"/>
          </p:cNvPicPr>
          <p:nvPr/>
        </p:nvPicPr>
        <p:blipFill rotWithShape="1">
          <a:blip r:embed="rId7"/>
          <a:srcRect r="3203"/>
          <a:stretch/>
        </p:blipFill>
        <p:spPr>
          <a:xfrm>
            <a:off x="6626580" y="-256592"/>
            <a:ext cx="5549938" cy="1047721"/>
          </a:xfrm>
          <a:prstGeom prst="rect">
            <a:avLst/>
          </a:prstGeom>
        </p:spPr>
      </p:pic>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1"/>
            <a:ext cx="3537038" cy="1781473"/>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88066" name="Picture 2" descr="Billedresultat for itu logo universitete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15905" y="849450"/>
            <a:ext cx="3519034" cy="1759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883" r="1070" b="3508"/>
          <a:stretch/>
        </p:blipFill>
        <p:spPr bwMode="auto">
          <a:xfrm>
            <a:off x="5142641" y="3498444"/>
            <a:ext cx="7047771" cy="3390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094" name="Picture 6" descr="WakieWakie app."/>
          <p:cNvPicPr>
            <a:picLocks noChangeAspect="1" noChangeArrowheads="1"/>
          </p:cNvPicPr>
          <p:nvPr/>
        </p:nvPicPr>
        <p:blipFill rotWithShape="1">
          <a:blip r:embed="rId4">
            <a:extLst>
              <a:ext uri="{28A0092B-C50C-407E-A947-70E740481C1C}">
                <a14:useLocalDpi xmlns:a14="http://schemas.microsoft.com/office/drawing/2010/main" val="0"/>
              </a:ext>
            </a:extLst>
          </a:blip>
          <a:srcRect l="9021"/>
          <a:stretch/>
        </p:blipFill>
        <p:spPr bwMode="auto">
          <a:xfrm flipH="1">
            <a:off x="0" y="3507379"/>
            <a:ext cx="6099586" cy="3352209"/>
          </a:xfrm>
          <a:prstGeom prst="rect">
            <a:avLst/>
          </a:prstGeom>
          <a:noFill/>
          <a:extLst>
            <a:ext uri="{909E8E84-426E-40DD-AFC4-6F175D3DCCD1}">
              <a14:hiddenFill xmlns:a14="http://schemas.microsoft.com/office/drawing/2010/main">
                <a:solidFill>
                  <a:srgbClr val="FFFFFF"/>
                </a:solidFill>
              </a14:hiddenFill>
            </a:ext>
          </a:extLst>
        </p:spPr>
      </p:pic>
      <p:pic>
        <p:nvPicPr>
          <p:cNvPr id="89090" name="Picture 2" descr="&quot;&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18" y="0"/>
            <a:ext cx="6702538" cy="3578179"/>
          </a:xfrm>
          <a:prstGeom prst="rect">
            <a:avLst/>
          </a:prstGeom>
          <a:noFill/>
          <a:extLst>
            <a:ext uri="{909E8E84-426E-40DD-AFC4-6F175D3DCCD1}">
              <a14:hiddenFill xmlns:a14="http://schemas.microsoft.com/office/drawing/2010/main">
                <a:solidFill>
                  <a:srgbClr val="FFFFFF"/>
                </a:solidFill>
              </a14:hiddenFill>
            </a:ext>
          </a:extLst>
        </p:spPr>
      </p:pic>
      <p:pic>
        <p:nvPicPr>
          <p:cNvPr id="89092" name="Picture 4" descr="Billedresultat for BIG DATA SKAL FÃ ARBEJDSLÃSE HURTIGERE I JOB"/>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018"/>
          <a:stretch/>
        </p:blipFill>
        <p:spPr bwMode="auto">
          <a:xfrm>
            <a:off x="6088827" y="-8936"/>
            <a:ext cx="6101585" cy="3507379"/>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6</a:t>
            </a:fld>
            <a:endParaRPr lang="en-GB" dirty="0"/>
          </a:p>
        </p:txBody>
      </p:sp>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dirty="0"/>
              <a:t>I</a:t>
            </a:r>
            <a:r>
              <a:rPr lang="da-DK" sz="2000" dirty="0" smtClean="0"/>
              <a:t>TU</a:t>
            </a:r>
            <a:r>
              <a:rPr lang="da-DK" sz="2000" noProof="0" dirty="0" smtClean="0"/>
              <a:t>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37365841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7</a:t>
            </a:fld>
            <a:endParaRPr lang="en-GB" dirty="0"/>
          </a:p>
        </p:txBody>
      </p:sp>
      <p:sp>
        <p:nvSpPr>
          <p:cNvPr id="4" name="Titel 3"/>
          <p:cNvSpPr>
            <a:spLocks noGrp="1"/>
          </p:cNvSpPr>
          <p:nvPr>
            <p:ph type="title" idx="4294967295"/>
          </p:nvPr>
        </p:nvSpPr>
        <p:spPr>
          <a:xfrm>
            <a:off x="763841" y="363978"/>
            <a:ext cx="10612438" cy="466725"/>
          </a:xfrm>
        </p:spPr>
        <p:txBody>
          <a:bodyPr/>
          <a:lstStyle/>
          <a:p>
            <a:r>
              <a:rPr lang="da-DK" dirty="0" smtClean="0"/>
              <a:t>IFD </a:t>
            </a:r>
            <a:r>
              <a:rPr lang="da-DK" dirty="0" err="1" smtClean="0"/>
              <a:t>also</a:t>
            </a:r>
            <a:r>
              <a:rPr lang="da-DK" dirty="0" smtClean="0"/>
              <a:t> invests in groundbreaking research </a:t>
            </a:r>
            <a:endParaRPr lang="da-DK" dirty="0"/>
          </a:p>
        </p:txBody>
      </p:sp>
      <p:pic>
        <p:nvPicPr>
          <p:cNvPr id="90114" name="Picture 2" descr="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74" y="1862245"/>
            <a:ext cx="4573147" cy="3147027"/>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3"/>
          <p:cNvSpPr>
            <a:spLocks noChangeArrowheads="1"/>
          </p:cNvSpPr>
          <p:nvPr/>
        </p:nvSpPr>
        <p:spPr bwMode="auto">
          <a:xfrm>
            <a:off x="763841" y="1404432"/>
            <a:ext cx="5273947" cy="4062651"/>
          </a:xfrm>
          <a:prstGeom prst="rect">
            <a:avLst/>
          </a:prstGeom>
          <a:noFill/>
          <a:ln>
            <a:noFill/>
          </a:ln>
          <a:effectLst/>
        </p:spPr>
        <p:txBody>
          <a:bodyPr vert="horz" wrap="square" lIns="0" tIns="0" rIns="0" bIns="0" numCol="1" anchor="ctr" anchorCtr="0" compatLnSpc="1">
            <a:prstTxWarp prst="textNoShape">
              <a:avLst/>
            </a:prstTxWarp>
            <a:spAutoFit/>
          </a:bodyPr>
          <a:lstStyle/>
          <a:p>
            <a:r>
              <a:rPr lang="en-US" sz="2400" b="1" dirty="0" smtClean="0">
                <a:solidFill>
                  <a:srgbClr val="1E4148"/>
                </a:solidFill>
              </a:rPr>
              <a:t>INCOM - example</a:t>
            </a:r>
            <a:endParaRPr lang="en-US" sz="2400" b="1" dirty="0">
              <a:solidFill>
                <a:srgbClr val="1E4148"/>
              </a:solidFill>
            </a:endParaRP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Recent IFD-investment (DKK 60m)</a:t>
            </a: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Transforms a strong Danish research tradition in telecom to approach grand challenges of our digitalization.</a:t>
            </a:r>
          </a:p>
          <a:p>
            <a:pPr marL="342900" indent="-342900">
              <a:buFont typeface="Arial" panose="020B0604020202020204" pitchFamily="34" charset="0"/>
              <a:buChar char="•"/>
            </a:pPr>
            <a:endParaRPr lang="da-DK"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The internet is responsible for 10 % of worldwide electricity consumption. </a:t>
            </a:r>
          </a:p>
          <a:p>
            <a:pPr marL="342900" indent="-342900">
              <a:buFont typeface="Arial" panose="020B0604020202020204" pitchFamily="34" charset="0"/>
              <a:buChar char="•"/>
            </a:pPr>
            <a:endParaRPr lang="en-US"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Scaling up broadband solutions is getting increasingly difficult. </a:t>
            </a:r>
            <a:endParaRPr lang="da-DK" sz="2000" dirty="0">
              <a:solidFill>
                <a:srgbClr val="1E4148"/>
              </a:solidFill>
            </a:endParaRPr>
          </a:p>
        </p:txBody>
      </p:sp>
    </p:spTree>
    <p:extLst>
      <p:ext uri="{BB962C8B-B14F-4D97-AF65-F5344CB8AC3E}">
        <p14:creationId xmlns:p14="http://schemas.microsoft.com/office/powerpoint/2010/main" val="2530518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2562549870"/>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5</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8</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many succeeded last 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kÃ¸benhavns universitet grand solution"/>
          <p:cNvPicPr>
            <a:picLocks noChangeAspect="1" noChangeArrowheads="1"/>
          </p:cNvPicPr>
          <p:nvPr/>
        </p:nvPicPr>
        <p:blipFill rotWithShape="1">
          <a:blip r:embed="rId2">
            <a:extLst>
              <a:ext uri="{28A0092B-C50C-407E-A947-70E740481C1C}">
                <a14:useLocalDpi xmlns:a14="http://schemas.microsoft.com/office/drawing/2010/main" val="0"/>
              </a:ext>
            </a:extLst>
          </a:blip>
          <a:srcRect r="4521"/>
          <a:stretch/>
        </p:blipFill>
        <p:spPr bwMode="auto">
          <a:xfrm>
            <a:off x="7019413" y="2343106"/>
            <a:ext cx="4573147" cy="314702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9</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_rels/theme24.xml.rels><?xml version="1.0" encoding="UTF-8" standalone="yes"?>
<Relationships xmlns="http://schemas.openxmlformats.org/package/2006/relationships"><Relationship Id="rId1" Type="http://schemas.openxmlformats.org/officeDocument/2006/relationships/image" Target="../media/image22.png"/></Relationships>
</file>

<file path=ppt/theme/_rels/theme25.xml.rels><?xml version="1.0" encoding="UTF-8" standalone="yes"?>
<Relationships xmlns="http://schemas.openxmlformats.org/package/2006/relationships"><Relationship Id="rId1" Type="http://schemas.openxmlformats.org/officeDocument/2006/relationships/image" Target="../media/image22.png"/></Relationships>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5.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2076</Words>
  <Application>Microsoft Office PowerPoint</Application>
  <PresentationFormat>Brugerdefineret</PresentationFormat>
  <Paragraphs>616</Paragraphs>
  <Slides>49</Slides>
  <Notes>20</Notes>
  <HiddenSlides>6</HiddenSlides>
  <MMClips>0</MMClips>
  <ScaleCrop>false</ScaleCrop>
  <HeadingPairs>
    <vt:vector size="8" baseType="variant">
      <vt:variant>
        <vt:lpstr>Benyttede skrifttyper</vt:lpstr>
      </vt:variant>
      <vt:variant>
        <vt:i4>20</vt:i4>
      </vt:variant>
      <vt:variant>
        <vt:lpstr>Tema</vt:lpstr>
      </vt:variant>
      <vt:variant>
        <vt:i4>25</vt:i4>
      </vt:variant>
      <vt:variant>
        <vt:lpstr>Integrerede OLE-servere</vt:lpstr>
      </vt:variant>
      <vt:variant>
        <vt:i4>1</vt:i4>
      </vt:variant>
      <vt:variant>
        <vt:lpstr>Slidetitler</vt:lpstr>
      </vt:variant>
      <vt:variant>
        <vt:i4>49</vt:i4>
      </vt:variant>
    </vt:vector>
  </HeadingPairs>
  <TitlesOfParts>
    <vt:vector size="95" baseType="lpstr">
      <vt:lpstr>Arial</vt:lpstr>
      <vt:lpstr>Avenir Next</vt:lpstr>
      <vt:lpstr>Calibri</vt:lpstr>
      <vt:lpstr>Calibri Light</vt:lpstr>
      <vt:lpstr>Century Gothic</vt:lpstr>
      <vt:lpstr>Courier New</vt:lpstr>
      <vt:lpstr>Flama Semicondensed</vt:lpstr>
      <vt:lpstr>FlamaSemicondensed-Basic</vt:lpstr>
      <vt:lpstr>FlamaSemicondensed-Medium</vt:lpstr>
      <vt:lpstr>Gill Sans</vt:lpstr>
      <vt:lpstr>Helvetica</vt:lpstr>
      <vt:lpstr>Helvetica Light</vt:lpstr>
      <vt:lpstr>HelveticaNeueLT Std Lt Cn</vt:lpstr>
      <vt:lpstr>inherit</vt:lpstr>
      <vt:lpstr>Lucida Grande</vt:lpstr>
      <vt:lpstr>Times</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White</vt:lpstr>
      <vt:lpstr>1_White</vt:lpstr>
      <vt:lpstr>think-cell Slide</vt:lpstr>
      <vt:lpstr>PowerPoint-præsentation</vt:lpstr>
      <vt:lpstr>From science to value</vt:lpstr>
      <vt:lpstr>IFD Regional model – Aarhus as headquarter</vt:lpstr>
      <vt:lpstr>PowerPoint-præsentation</vt:lpstr>
      <vt:lpstr>Three entries</vt:lpstr>
      <vt:lpstr>PowerPoint-præsentation</vt:lpstr>
      <vt:lpstr>IFD also invests in groundbreaking research </vt:lpstr>
      <vt:lpstr>PowerPoint-præsentation</vt:lpstr>
      <vt:lpstr>Grand Solutions</vt:lpstr>
      <vt:lpstr>Grand Solutions</vt:lpstr>
      <vt:lpstr>Grand Solutions 2019 + DKK 700m Pending fiscal law approval</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noBooster – activity from Central Denmark Region</vt:lpstr>
      <vt:lpstr> Platforms for international programmes</vt:lpstr>
      <vt:lpstr>IFD budget: DKK 150-175m</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29T09:03:06Z</dcterms:modified>
</cp:coreProperties>
</file>